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slideLayouts/slideLayout3.xml" ContentType="application/vnd.openxmlformats-officedocument.presentationml.slideLayout+xml"/>
  <Override PartName="/ppt/theme/theme4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slideLayouts/slideLayout8.xml" ContentType="application/vnd.openxmlformats-officedocument.presentationml.slideLayout+xml"/>
  <Override PartName="/ppt/theme/theme7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8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9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11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1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14.xml" ContentType="application/vnd.openxmlformats-officedocument.theme+xml"/>
  <Override PartName="/ppt/slideLayouts/slideLayout34.xml" ContentType="application/vnd.openxmlformats-officedocument.presentationml.slideLayout+xml"/>
  <Override PartName="/ppt/theme/theme1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8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9.xml" ContentType="application/vnd.openxmlformats-officedocument.theme+xml"/>
  <Override PartName="/ppt/slideLayouts/slideLayout58.xml" ContentType="application/vnd.openxmlformats-officedocument.presentationml.slideLayout+xml"/>
  <Override PartName="/ppt/theme/theme20.xml" ContentType="application/vnd.openxmlformats-officedocument.theme+xml"/>
  <Override PartName="/ppt/slideLayouts/slideLayout59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981" r:id="rId1"/>
    <p:sldMasterId id="2147483660" r:id="rId2"/>
    <p:sldMasterId id="2147483810" r:id="rId3"/>
    <p:sldMasterId id="2147483829" r:id="rId4"/>
    <p:sldMasterId id="2147483836" r:id="rId5"/>
    <p:sldMasterId id="2147483840" r:id="rId6"/>
    <p:sldMasterId id="2147483845" r:id="rId7"/>
    <p:sldMasterId id="2147483848" r:id="rId8"/>
    <p:sldMasterId id="2147483854" r:id="rId9"/>
    <p:sldMasterId id="2147483881" r:id="rId10"/>
    <p:sldMasterId id="2147483887" r:id="rId11"/>
    <p:sldMasterId id="2147483890" r:id="rId12"/>
    <p:sldMasterId id="2147483894" r:id="rId13"/>
    <p:sldMasterId id="2147483898" r:id="rId14"/>
    <p:sldMasterId id="2147483916" r:id="rId15"/>
    <p:sldMasterId id="2147483918" r:id="rId16"/>
    <p:sldMasterId id="2147483926" r:id="rId17"/>
    <p:sldMasterId id="2147483962" r:id="rId18"/>
    <p:sldMasterId id="2147483965" r:id="rId19"/>
    <p:sldMasterId id="2147483973" r:id="rId20"/>
    <p:sldMasterId id="2147483979" r:id="rId21"/>
  </p:sldMasterIdLst>
  <p:notesMasterIdLst>
    <p:notesMasterId r:id="rId65"/>
  </p:notesMasterIdLst>
  <p:sldIdLst>
    <p:sldId id="1111" r:id="rId22"/>
    <p:sldId id="1178" r:id="rId23"/>
    <p:sldId id="1140" r:id="rId24"/>
    <p:sldId id="1141" r:id="rId25"/>
    <p:sldId id="1142" r:id="rId26"/>
    <p:sldId id="1143" r:id="rId27"/>
    <p:sldId id="1144" r:id="rId28"/>
    <p:sldId id="1146" r:id="rId29"/>
    <p:sldId id="1147" r:id="rId30"/>
    <p:sldId id="1150" r:id="rId31"/>
    <p:sldId id="1145" r:id="rId32"/>
    <p:sldId id="1148" r:id="rId33"/>
    <p:sldId id="1171" r:id="rId34"/>
    <p:sldId id="1172" r:id="rId35"/>
    <p:sldId id="1170" r:id="rId36"/>
    <p:sldId id="1176" r:id="rId37"/>
    <p:sldId id="1177" r:id="rId38"/>
    <p:sldId id="1174" r:id="rId39"/>
    <p:sldId id="1133" r:id="rId40"/>
    <p:sldId id="1134" r:id="rId41"/>
    <p:sldId id="1137" r:id="rId42"/>
    <p:sldId id="1138" r:id="rId43"/>
    <p:sldId id="1158" r:id="rId44"/>
    <p:sldId id="1160" r:id="rId45"/>
    <p:sldId id="1161" r:id="rId46"/>
    <p:sldId id="1180" r:id="rId47"/>
    <p:sldId id="1159" r:id="rId48"/>
    <p:sldId id="1162" r:id="rId49"/>
    <p:sldId id="1163" r:id="rId50"/>
    <p:sldId id="1164" r:id="rId51"/>
    <p:sldId id="1166" r:id="rId52"/>
    <p:sldId id="1167" r:id="rId53"/>
    <p:sldId id="1168" r:id="rId54"/>
    <p:sldId id="1165" r:id="rId55"/>
    <p:sldId id="1154" r:id="rId56"/>
    <p:sldId id="1155" r:id="rId57"/>
    <p:sldId id="1156" r:id="rId58"/>
    <p:sldId id="1151" r:id="rId59"/>
    <p:sldId id="1152" r:id="rId60"/>
    <p:sldId id="1153" r:id="rId61"/>
    <p:sldId id="1173" r:id="rId62"/>
    <p:sldId id="1181" r:id="rId63"/>
    <p:sldId id="1182" r:id="rId64"/>
  </p:sldIdLst>
  <p:sldSz cx="12192000" cy="6858000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1pPr>
    <a:lvl2pPr marL="4508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2pPr>
    <a:lvl3pPr marL="9080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3pPr>
    <a:lvl4pPr marL="13652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4pPr>
    <a:lvl5pPr marL="1822450" indent="635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5pPr>
    <a:lvl6pPr marL="22860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6pPr>
    <a:lvl7pPr marL="27432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7pPr>
    <a:lvl8pPr marL="32004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8pPr>
    <a:lvl9pPr marL="3657600" algn="l" defTabSz="914400" rtl="0" eaLnBrk="1" latinLnBrk="1" hangingPunct="1">
      <a:defRPr kumimoji="1" sz="2000" b="1" kern="1200">
        <a:solidFill>
          <a:schemeClr val="tx1"/>
        </a:solidFill>
        <a:latin typeface="Trebuchet MS" pitchFamily="34" charset="0"/>
        <a:ea typeface="돋움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5B8C593E-0B22-4715-A62C-8EDC79DEAE55}">
          <p14:sldIdLst>
            <p14:sldId id="1111"/>
            <p14:sldId id="1178"/>
            <p14:sldId id="1140"/>
            <p14:sldId id="1141"/>
            <p14:sldId id="1142"/>
            <p14:sldId id="1143"/>
            <p14:sldId id="1144"/>
            <p14:sldId id="1146"/>
            <p14:sldId id="1147"/>
            <p14:sldId id="1150"/>
            <p14:sldId id="1145"/>
            <p14:sldId id="1148"/>
            <p14:sldId id="1171"/>
            <p14:sldId id="1172"/>
            <p14:sldId id="1170"/>
            <p14:sldId id="1176"/>
            <p14:sldId id="1177"/>
            <p14:sldId id="1174"/>
            <p14:sldId id="1133"/>
            <p14:sldId id="1134"/>
            <p14:sldId id="1137"/>
            <p14:sldId id="1138"/>
            <p14:sldId id="1158"/>
            <p14:sldId id="1160"/>
            <p14:sldId id="1161"/>
            <p14:sldId id="1180"/>
            <p14:sldId id="1159"/>
            <p14:sldId id="1162"/>
            <p14:sldId id="1163"/>
            <p14:sldId id="1164"/>
            <p14:sldId id="1166"/>
            <p14:sldId id="1167"/>
            <p14:sldId id="1168"/>
            <p14:sldId id="1165"/>
          </p14:sldIdLst>
        </p14:section>
        <p14:section name="유첨" id="{0F8252CF-234B-4122-A75C-6236FD32E10E}">
          <p14:sldIdLst>
            <p14:sldId id="1154"/>
            <p14:sldId id="1155"/>
            <p14:sldId id="1156"/>
            <p14:sldId id="1151"/>
            <p14:sldId id="1152"/>
            <p14:sldId id="1153"/>
            <p14:sldId id="1173"/>
            <p14:sldId id="1181"/>
            <p14:sldId id="1182"/>
          </p14:sldIdLst>
        </p14:section>
        <p14:section name="참고" id="{26D768DF-89CA-4954-862C-428CE610FA8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11" orient="horz" pos="640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pos="3659" userDrawn="1">
          <p15:clr>
            <a:srgbClr val="A4A3A4"/>
          </p15:clr>
        </p15:guide>
        <p15:guide id="16" orient="horz" pos="3407" userDrawn="1">
          <p15:clr>
            <a:srgbClr val="A4A3A4"/>
          </p15:clr>
        </p15:guide>
        <p15:guide id="17" userDrawn="1">
          <p15:clr>
            <a:srgbClr val="A4A3A4"/>
          </p15:clr>
        </p15:guide>
        <p15:guide id="18" pos="2094" userDrawn="1">
          <p15:clr>
            <a:srgbClr val="A4A3A4"/>
          </p15:clr>
        </p15:guide>
        <p15:guide id="19" pos="6425" userDrawn="1">
          <p15:clr>
            <a:srgbClr val="A4A3A4"/>
          </p15:clr>
        </p15:guide>
        <p15:guide id="20" pos="937" userDrawn="1">
          <p15:clr>
            <a:srgbClr val="A4A3A4"/>
          </p15:clr>
        </p15:guide>
        <p15:guide id="21" pos="3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FFFFCC"/>
    <a:srgbClr val="0000FF"/>
    <a:srgbClr val="CCFFCC"/>
    <a:srgbClr val="CCFFFF"/>
    <a:srgbClr val="FFCCFF"/>
    <a:srgbClr val="009900"/>
    <a:srgbClr val="006600"/>
    <a:srgbClr val="B17ED8"/>
    <a:srgbClr val="E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48" autoAdjust="0"/>
    <p:restoredTop sz="94450" autoAdjust="0"/>
  </p:normalViewPr>
  <p:slideViewPr>
    <p:cSldViewPr>
      <p:cViewPr>
        <p:scale>
          <a:sx n="100" d="100"/>
          <a:sy n="100" d="100"/>
        </p:scale>
        <p:origin x="6" y="534"/>
      </p:cViewPr>
      <p:guideLst>
        <p:guide orient="horz" pos="3884"/>
        <p:guide orient="horz" pos="640"/>
        <p:guide pos="3840"/>
        <p:guide pos="3659"/>
        <p:guide orient="horz" pos="3407"/>
        <p:guide/>
        <p:guide pos="2094"/>
        <p:guide pos="6425"/>
        <p:guide pos="937"/>
        <p:guide pos="34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30"/>
    </p:cViewPr>
  </p:sorterViewPr>
  <p:notesViewPr>
    <p:cSldViewPr>
      <p:cViewPr varScale="1">
        <p:scale>
          <a:sx n="84" d="100"/>
          <a:sy n="84" d="100"/>
        </p:scale>
        <p:origin x="3642" y="108"/>
      </p:cViewPr>
      <p:guideLst>
        <p:guide orient="horz" pos="3130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5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63" Type="http://schemas.openxmlformats.org/officeDocument/2006/relationships/slide" Target="slides/slide42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slide" Target="slides/slide37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0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slide" Target="slides/slide35.xml"/><Relationship Id="rId64" Type="http://schemas.openxmlformats.org/officeDocument/2006/relationships/slide" Target="slides/slide43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slide" Target="slides/slide38.xml"/><Relationship Id="rId67" Type="http://schemas.openxmlformats.org/officeDocument/2006/relationships/viewProps" Target="viewProp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slide" Target="slides/slide4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slide" Target="slides/slide39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8.xml"/><Relationship Id="rId34" Type="http://schemas.openxmlformats.org/officeDocument/2006/relationships/slide" Target="slides/slide13.xml"/><Relationship Id="rId50" Type="http://schemas.openxmlformats.org/officeDocument/2006/relationships/slide" Target="slides/slide29.xml"/><Relationship Id="rId5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>
            <a:lvl1pPr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511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7713"/>
            <a:ext cx="6623050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813"/>
            <a:ext cx="544512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511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b" anchorCtr="0" compatLnSpc="1">
            <a:prstTxWarp prst="textNoShape">
              <a:avLst/>
            </a:prstTxWarp>
          </a:bodyPr>
          <a:lstStyle>
            <a:lvl1pPr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511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9" tIns="45779" rIns="91559" bIns="45779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11B386E0-A914-4A1F-AC02-752D0982DE67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2777599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08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080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652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245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4333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98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66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932" algn="l" defTabSz="9137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5988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B386E0-A914-4A1F-AC02-752D0982DE67}" type="slidenum">
              <a:rPr kumimoji="1" lang="en-US" altLang="ko-K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  <a:cs typeface="+mn-cs"/>
              </a:rPr>
              <a:pPr marL="0" marR="0" lvl="0" indent="0" algn="r" defTabSz="915988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en-US" altLang="ko-K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353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B386E0-A914-4A1F-AC02-752D0982DE67}" type="slidenum">
              <a:rPr lang="en-US" altLang="ko-KR" smtClean="0"/>
              <a:pPr>
                <a:defRPr/>
              </a:pPr>
              <a:t>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6909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9"/>
          <p:cNvSpPr>
            <a:spLocks noChangeShapeType="1"/>
          </p:cNvSpPr>
          <p:nvPr userDrawn="1"/>
        </p:nvSpPr>
        <p:spPr bwMode="auto">
          <a:xfrm>
            <a:off x="0" y="476672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375811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407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4734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77724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7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8620" y="6386473"/>
            <a:ext cx="971368" cy="421758"/>
          </a:xfrm>
          <a:prstGeom prst="rect">
            <a:avLst/>
          </a:prstGeom>
          <a:noFill/>
        </p:spPr>
      </p:pic>
      <p:sp>
        <p:nvSpPr>
          <p:cNvPr id="9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4724400" y="64945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fld id="{F215B1D4-4ECD-4DDE-91CE-96B0C20A54A9}" type="slidenum">
              <a:rPr lang="ko-KR" altLang="en-US" sz="1400" smtClean="0">
                <a:solidFill>
                  <a:srgbClr val="000000"/>
                </a:solidFill>
              </a:rPr>
              <a:pPr/>
              <a:t>‹#›</a:t>
            </a:fld>
            <a:r>
              <a:rPr lang="ko-KR" altLang="en-US">
                <a:solidFill>
                  <a:srgbClr val="000000"/>
                </a:solidFill>
              </a:rPr>
              <a:t> </a:t>
            </a:r>
            <a:r>
              <a:rPr lang="en-US" altLang="ko-KR">
                <a:solidFill>
                  <a:srgbClr val="000000"/>
                </a:solidFill>
              </a:rPr>
              <a:t>/ 36</a:t>
            </a:r>
            <a:endParaRPr lang="ko-KR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451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8461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직사각형 4"/>
          <p:cNvSpPr/>
          <p:nvPr userDrawn="1"/>
        </p:nvSpPr>
        <p:spPr>
          <a:xfrm>
            <a:off x="5176503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410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9" y="4923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23823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3" y="4922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10753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3" y="4922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99550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78003" y="49220"/>
            <a:ext cx="310188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altLang="ko-KR" dirty="0"/>
              <a:t>LGE Internal Use Only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028592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5620" y="6356355"/>
            <a:ext cx="2743200" cy="365125"/>
          </a:xfrm>
          <a:prstGeom prst="rect">
            <a:avLst/>
          </a:prstGeom>
        </p:spPr>
        <p:txBody>
          <a:bodyPr/>
          <a:lstStyle/>
          <a:p>
            <a:fld id="{81A3C30C-C0B5-4EAC-B249-A7CB82329FC0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0" y="448887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8170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7410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264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5176503" y="125612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229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C2C826C5-37BE-4765-84A8-930E620FA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1193202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cap="none" baseline="0"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cap="none" baseline="0">
                <a:latin typeface="Arial Narrow" panose="020B0606020202030204" pitchFamily="34" charset="0"/>
                <a:ea typeface="LG스마트체 Regular" panose="020B0600000101010101" pitchFamily="50" charset="-127"/>
                <a:sym typeface="Arial Narrow" panose="020B0606020202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467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10066" y="43393"/>
            <a:ext cx="10515600" cy="439208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40264" y="733425"/>
            <a:ext cx="11308823" cy="451908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  <a:lvl2pPr>
              <a:defRPr cap="none" baseline="0"/>
            </a:lvl2pPr>
            <a:lvl3pPr>
              <a:defRPr cap="none" baseline="0"/>
            </a:lvl3pPr>
            <a:lvl4pPr>
              <a:defRPr cap="none" baseline="0"/>
            </a:lvl4pPr>
            <a:lvl5pPr>
              <a:defRPr cap="none" baseline="0"/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b="0">
              <a:solidFill>
                <a:prstClr val="black"/>
              </a:solidFill>
              <a:latin typeface="Arial Narrow"/>
              <a:ea typeface="LG스마트체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74267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6747" y="148294"/>
            <a:ext cx="2513509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2000" b="1" baseline="0"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35377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8687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7987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0194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8332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7436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71750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597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803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09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426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6465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 userDrawn="1"/>
        </p:nvSpPr>
        <p:spPr bwMode="auto">
          <a:xfrm>
            <a:off x="0" y="534988"/>
            <a:ext cx="12192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463" b="0">
              <a:solidFill>
                <a:srgbClr val="000000"/>
              </a:solidFill>
              <a:latin typeface="Arial"/>
              <a:ea typeface="돋움"/>
            </a:endParaRPr>
          </a:p>
        </p:txBody>
      </p:sp>
      <p:sp>
        <p:nvSpPr>
          <p:cNvPr id="7" name="텍스트 개체 틀 6"/>
          <p:cNvSpPr>
            <a:spLocks noGrp="1"/>
          </p:cNvSpPr>
          <p:nvPr>
            <p:ph type="body" sz="quarter" idx="10"/>
          </p:nvPr>
        </p:nvSpPr>
        <p:spPr>
          <a:xfrm>
            <a:off x="8045938" y="116059"/>
            <a:ext cx="3987801" cy="31745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lvl1pPr marL="0" indent="0" algn="r">
              <a:buNone/>
              <a:defRPr lang="ko-KR" altLang="en-US" sz="1219" b="1" kern="1200" smtClean="0">
                <a:latin typeface="Arial Narrow" panose="020B0606020202030204" pitchFamily="34" charset="0"/>
                <a:ea typeface="LG스마트체 Regular" pitchFamily="50" charset="-127"/>
              </a:defRPr>
            </a:lvl1pPr>
            <a:lvl2pPr>
              <a:defRPr lang="ko-KR" altLang="en-US" kern="1200" smtClean="0">
                <a:latin typeface="굴림" pitchFamily="50" charset="-127"/>
                <a:ea typeface="굴림" pitchFamily="50" charset="-127"/>
                <a:cs typeface="+mn-cs"/>
              </a:defRPr>
            </a:lvl2pPr>
            <a:lvl3pPr>
              <a:defRPr lang="ko-KR" altLang="en-US" kern="1200" smtClean="0">
                <a:latin typeface="굴림" pitchFamily="50" charset="-127"/>
                <a:ea typeface="굴림" pitchFamily="50" charset="-127"/>
                <a:cs typeface="+mn-cs"/>
              </a:defRPr>
            </a:lvl3pPr>
            <a:lvl4pPr>
              <a:defRPr lang="ko-KR" altLang="en-US" kern="1200" smtClean="0">
                <a:latin typeface="굴림" pitchFamily="50" charset="-127"/>
                <a:ea typeface="굴림" pitchFamily="50" charset="-127"/>
                <a:cs typeface="+mn-cs"/>
              </a:defRPr>
            </a:lvl4pPr>
            <a:lvl5pPr>
              <a:defRPr lang="ko-KR" altLang="en-US" kern="1200">
                <a:latin typeface="굴림" pitchFamily="50" charset="-127"/>
                <a:ea typeface="굴림" pitchFamily="50" charset="-127"/>
                <a:cs typeface="+mn-cs"/>
              </a:defRPr>
            </a:lvl5pPr>
          </a:lstStyle>
          <a:p>
            <a:pPr lvl="0" algn="r" latinLnBrk="0">
              <a:lnSpc>
                <a:spcPct val="120000"/>
              </a:lnSpc>
              <a:spcBef>
                <a:spcPct val="0"/>
              </a:spcBef>
              <a:tabLst>
                <a:tab pos="3060800" algn="l"/>
              </a:tabLst>
            </a:pPr>
            <a:endParaRPr lang="ko-KR" altLang="en-US" dirty="0"/>
          </a:p>
        </p:txBody>
      </p:sp>
      <p:sp>
        <p:nvSpPr>
          <p:cNvPr id="9" name="제목 8"/>
          <p:cNvSpPr>
            <a:spLocks noGrp="1"/>
          </p:cNvSpPr>
          <p:nvPr>
            <p:ph type="title"/>
          </p:nvPr>
        </p:nvSpPr>
        <p:spPr>
          <a:xfrm>
            <a:off x="95104" y="71441"/>
            <a:ext cx="6000897" cy="398053"/>
          </a:xfrm>
          <a:prstGeom prst="rect">
            <a:avLst/>
          </a:prstGeom>
        </p:spPr>
        <p:txBody>
          <a:bodyPr/>
          <a:lstStyle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625" b="1" kern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</a:lstStyle>
          <a:p>
            <a:endParaRPr lang="ko-KR" altLang="en-US" dirty="0"/>
          </a:p>
        </p:txBody>
      </p:sp>
      <p:sp>
        <p:nvSpPr>
          <p:cNvPr id="12" name="텍스트 개체 틀 11"/>
          <p:cNvSpPr>
            <a:spLocks noGrp="1"/>
          </p:cNvSpPr>
          <p:nvPr>
            <p:ph type="body" sz="quarter" idx="11"/>
          </p:nvPr>
        </p:nvSpPr>
        <p:spPr>
          <a:xfrm>
            <a:off x="257909" y="669591"/>
            <a:ext cx="11598031" cy="325438"/>
          </a:xfrm>
          <a:prstGeom prst="rect">
            <a:avLst/>
          </a:prstGeom>
        </p:spPr>
        <p:txBody>
          <a:bodyPr/>
          <a:lstStyle>
            <a:lvl1pPr marL="0" indent="0" algn="l" rtl="0" fontAlgn="base" latinLnBrk="1">
              <a:spcBef>
                <a:spcPct val="0"/>
              </a:spcBef>
              <a:spcAft>
                <a:spcPct val="0"/>
              </a:spcAft>
              <a:buNone/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1pPr>
            <a:lvl2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2pPr>
            <a:lvl3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3pPr>
            <a:lvl4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4pPr>
            <a:lvl5pPr algn="l" rtl="0" fontAlgn="base" latinLnBrk="1">
              <a:spcBef>
                <a:spcPct val="0"/>
              </a:spcBef>
              <a:spcAft>
                <a:spcPct val="0"/>
              </a:spcAft>
              <a:defRPr kumimoji="1" lang="ko-KR" altLang="en-US" sz="1300" b="1" kern="12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+mn-cs"/>
              </a:defRPr>
            </a:lvl5pPr>
          </a:lstStyle>
          <a:p>
            <a:pPr lvl="0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299489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5EA48AA-190A-48EB-A50C-AA4A94C70FB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algn="ctr"/>
              <a:t>‹#›</a:t>
            </a:fld>
            <a:r>
              <a:rPr lang="ko-KR" altLang="en-US">
                <a:solidFill>
                  <a:prstClr val="black">
                    <a:tint val="75000"/>
                  </a:prstClr>
                </a:solidFill>
              </a:rPr>
              <a:t> </a:t>
            </a:r>
            <a:r>
              <a:rPr lang="en-US" altLang="ko-KR">
                <a:solidFill>
                  <a:prstClr val="black">
                    <a:tint val="75000"/>
                  </a:prstClr>
                </a:solidFill>
              </a:rPr>
              <a:t>/ N</a:t>
            </a: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텍스트 개체 틀 8"/>
          <p:cNvSpPr>
            <a:spLocks noGrp="1"/>
          </p:cNvSpPr>
          <p:nvPr>
            <p:ph type="body" sz="quarter" idx="13" hasCustomPrompt="1"/>
          </p:nvPr>
        </p:nvSpPr>
        <p:spPr>
          <a:xfrm>
            <a:off x="8643169" y="123944"/>
            <a:ext cx="3457239" cy="331788"/>
          </a:xfrm>
          <a:prstGeom prst="rect">
            <a:avLst/>
          </a:prstGeom>
        </p:spPr>
        <p:txBody>
          <a:bodyPr/>
          <a:lstStyle>
            <a:lvl1pPr algn="r">
              <a:defRPr sz="2000" b="1"/>
            </a:lvl1pPr>
          </a:lstStyle>
          <a:p>
            <a:pPr lvl="0"/>
            <a:r>
              <a:rPr lang="ko-KR" altLang="en-US" dirty="0"/>
              <a:t>마스터 부제목</a:t>
            </a:r>
            <a:r>
              <a:rPr lang="en-US" altLang="ko-KR" dirty="0"/>
              <a:t> </a:t>
            </a:r>
            <a:r>
              <a:rPr lang="ko-KR" altLang="en-US"/>
              <a:t>스타일 편집</a:t>
            </a:r>
            <a:endParaRPr lang="ko-KR" altLang="en-US" dirty="0"/>
          </a:p>
        </p:txBody>
      </p:sp>
      <p:sp>
        <p:nvSpPr>
          <p:cNvPr id="11" name="텍스트 개체 틀 10"/>
          <p:cNvSpPr>
            <a:spLocks noGrp="1"/>
          </p:cNvSpPr>
          <p:nvPr>
            <p:ph type="body" sz="quarter" idx="14"/>
          </p:nvPr>
        </p:nvSpPr>
        <p:spPr>
          <a:xfrm>
            <a:off x="117232" y="620688"/>
            <a:ext cx="11881339" cy="64770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ko-KR" altLang="en-US" dirty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2160499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,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제목 4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161431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4"/>
          <p:cNvSpPr>
            <a:spLocks noGrp="1"/>
          </p:cNvSpPr>
          <p:nvPr>
            <p:ph type="title"/>
          </p:nvPr>
        </p:nvSpPr>
        <p:spPr>
          <a:xfrm>
            <a:off x="317782" y="116632"/>
            <a:ext cx="3065845" cy="349740"/>
          </a:xfrm>
        </p:spPr>
        <p:txBody>
          <a:bodyPr/>
          <a:lstStyle>
            <a:lvl1pPr>
              <a:defRPr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Line 7"/>
          <p:cNvSpPr>
            <a:spLocks noChangeShapeType="1"/>
          </p:cNvSpPr>
          <p:nvPr userDrawn="1"/>
        </p:nvSpPr>
        <p:spPr bwMode="auto">
          <a:xfrm>
            <a:off x="2118" y="533400"/>
            <a:ext cx="121898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0">
              <a:spcBef>
                <a:spcPct val="50000"/>
              </a:spcBef>
              <a:defRPr/>
            </a:pPr>
            <a:endParaRPr lang="en-US" sz="975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2544" y="6386473"/>
            <a:ext cx="1047946" cy="421758"/>
          </a:xfrm>
          <a:prstGeom prst="rect">
            <a:avLst/>
          </a:prstGeom>
          <a:noFill/>
        </p:spPr>
      </p:pic>
      <p:sp>
        <p:nvSpPr>
          <p:cNvPr id="8" name="Text Box 168"/>
          <p:cNvSpPr txBox="1">
            <a:spLocks noChangeArrowheads="1"/>
          </p:cNvSpPr>
          <p:nvPr userDrawn="1"/>
        </p:nvSpPr>
        <p:spPr bwMode="auto">
          <a:xfrm>
            <a:off x="5285999" y="116632"/>
            <a:ext cx="1620000" cy="288000"/>
          </a:xfrm>
          <a:prstGeom prst="rect">
            <a:avLst/>
          </a:prstGeom>
          <a:noFill/>
          <a:ln w="63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b="0" i="1">
                <a:solidFill>
                  <a:prstClr val="white">
                    <a:lumMod val="6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118926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만,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4775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내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7"/>
          <p:cNvSpPr>
            <a:spLocks noChangeShapeType="1"/>
          </p:cNvSpPr>
          <p:nvPr userDrawn="1"/>
        </p:nvSpPr>
        <p:spPr bwMode="auto">
          <a:xfrm>
            <a:off x="2118" y="533400"/>
            <a:ext cx="121898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0">
              <a:spcBef>
                <a:spcPct val="50000"/>
              </a:spcBef>
              <a:defRPr/>
            </a:pPr>
            <a:endParaRPr lang="en-US" sz="975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pic>
        <p:nvPicPr>
          <p:cNvPr id="6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92544" y="6386473"/>
            <a:ext cx="1047946" cy="421758"/>
          </a:xfrm>
          <a:prstGeom prst="rect">
            <a:avLst/>
          </a:prstGeom>
          <a:noFill/>
        </p:spPr>
      </p:pic>
      <p:sp>
        <p:nvSpPr>
          <p:cNvPr id="8" name="Text Box 168"/>
          <p:cNvSpPr txBox="1">
            <a:spLocks noChangeArrowheads="1"/>
          </p:cNvSpPr>
          <p:nvPr userDrawn="1"/>
        </p:nvSpPr>
        <p:spPr bwMode="auto">
          <a:xfrm>
            <a:off x="5285999" y="116632"/>
            <a:ext cx="1620000" cy="288000"/>
          </a:xfrm>
          <a:prstGeom prst="rect">
            <a:avLst/>
          </a:prstGeom>
          <a:noFill/>
          <a:ln w="63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b="0" i="1">
                <a:solidFill>
                  <a:prstClr val="white">
                    <a:lumMod val="6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659378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7501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9860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title" hasCustomPrompt="1"/>
          </p:nvPr>
        </p:nvSpPr>
        <p:spPr>
          <a:xfrm>
            <a:off x="217185" y="56148"/>
            <a:ext cx="6336016" cy="402892"/>
          </a:xfrm>
          <a:prstGeom prst="rect">
            <a:avLst/>
          </a:prstGeom>
        </p:spPr>
        <p:txBody>
          <a:bodyPr anchor="b"/>
          <a:lstStyle>
            <a:lvl1pPr algn="l">
              <a:defRPr sz="1846" b="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dirty="0"/>
              <a:t>제목</a:t>
            </a:r>
          </a:p>
        </p:txBody>
      </p:sp>
      <p:sp>
        <p:nvSpPr>
          <p:cNvPr id="8" name="텍스트 개체 틀 8"/>
          <p:cNvSpPr>
            <a:spLocks noGrp="1"/>
          </p:cNvSpPr>
          <p:nvPr>
            <p:ph type="body" sz="quarter" idx="10" hasCustomPrompt="1"/>
          </p:nvPr>
        </p:nvSpPr>
        <p:spPr>
          <a:xfrm>
            <a:off x="5638801" y="82137"/>
            <a:ext cx="6336016" cy="376905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477" b="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pPr lvl="0"/>
            <a:r>
              <a:rPr lang="ko-KR" altLang="en-US" dirty="0"/>
              <a:t>부제목</a:t>
            </a:r>
          </a:p>
        </p:txBody>
      </p:sp>
      <p:sp>
        <p:nvSpPr>
          <p:cNvPr id="9" name="Line 39"/>
          <p:cNvSpPr>
            <a:spLocks noChangeShapeType="1"/>
          </p:cNvSpPr>
          <p:nvPr userDrawn="1"/>
        </p:nvSpPr>
        <p:spPr bwMode="auto">
          <a:xfrm>
            <a:off x="114462" y="499144"/>
            <a:ext cx="1196307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63" tIns="42183" rIns="84363" bIns="42183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662" b="0">
              <a:solidFill>
                <a:prstClr val="black"/>
              </a:solidFill>
              <a:latin typeface="LG스마트체2.0 Regular" panose="020B0600000101010101" pitchFamily="50" charset="-127"/>
              <a:ea typeface="LG스마트체 Regular"/>
            </a:endParaRPr>
          </a:p>
        </p:txBody>
      </p:sp>
      <p:sp>
        <p:nvSpPr>
          <p:cNvPr id="11" name="텍스트 개체 틀 8"/>
          <p:cNvSpPr>
            <a:spLocks noGrp="1"/>
          </p:cNvSpPr>
          <p:nvPr>
            <p:ph type="body" sz="quarter" idx="11" hasCustomPrompt="1"/>
          </p:nvPr>
        </p:nvSpPr>
        <p:spPr>
          <a:xfrm>
            <a:off x="503477" y="593560"/>
            <a:ext cx="11185050" cy="37690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477" b="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pPr lvl="0"/>
            <a:r>
              <a:rPr lang="ko-KR" altLang="en-US" dirty="0"/>
              <a:t>헤드메시지</a:t>
            </a:r>
          </a:p>
        </p:txBody>
      </p:sp>
      <p:sp>
        <p:nvSpPr>
          <p:cNvPr id="13" name="텍스트 개체 틀 5"/>
          <p:cNvSpPr>
            <a:spLocks noGrp="1"/>
          </p:cNvSpPr>
          <p:nvPr>
            <p:ph type="body" sz="quarter" idx="13" hasCustomPrompt="1"/>
          </p:nvPr>
        </p:nvSpPr>
        <p:spPr>
          <a:xfrm>
            <a:off x="217184" y="6460070"/>
            <a:ext cx="11741538" cy="165777"/>
          </a:xfrm>
          <a:prstGeom prst="rect">
            <a:avLst/>
          </a:prstGeom>
        </p:spPr>
        <p:txBody>
          <a:bodyPr tIns="0" bIns="0" anchor="b"/>
          <a:lstStyle>
            <a:lvl1pPr marL="0" indent="0">
              <a:lnSpc>
                <a:spcPct val="100000"/>
              </a:lnSpc>
              <a:buNone/>
              <a:defRPr sz="831">
                <a:latin typeface="LG스마트체2.0 Regular" panose="020B0600000101010101" pitchFamily="50" charset="-127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831" dirty="0"/>
              <a:t>주석</a:t>
            </a:r>
            <a:endParaRPr lang="en-US" altLang="ko-KR" sz="831" dirty="0"/>
          </a:p>
        </p:txBody>
      </p:sp>
    </p:spTree>
    <p:extLst>
      <p:ext uri="{BB962C8B-B14F-4D97-AF65-F5344CB8AC3E}">
        <p14:creationId xmlns:p14="http://schemas.microsoft.com/office/powerpoint/2010/main" val="7179031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/>
        </p:nvSpPr>
        <p:spPr bwMode="auto">
          <a:xfrm>
            <a:off x="0" y="6357958"/>
            <a:ext cx="12192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l"/>
              <a:defRPr/>
            </a:pPr>
            <a:endParaRPr kumimoji="0" lang="ko-KR" altLang="en-US" sz="1800" b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Line 24"/>
          <p:cNvSpPr>
            <a:spLocks noChangeShapeType="1"/>
          </p:cNvSpPr>
          <p:nvPr/>
        </p:nvSpPr>
        <p:spPr bwMode="auto">
          <a:xfrm>
            <a:off x="0" y="571500"/>
            <a:ext cx="12192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Font typeface="Wingdings" pitchFamily="2" charset="2"/>
              <a:buChar char="l"/>
              <a:defRPr/>
            </a:pPr>
            <a:endParaRPr kumimoji="0" lang="ko-KR" altLang="en-US" sz="1800" b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80960" y="71414"/>
            <a:ext cx="10814614" cy="455592"/>
          </a:xfrm>
        </p:spPr>
        <p:txBody>
          <a:bodyPr/>
          <a:lstStyle>
            <a:lvl1pPr>
              <a:defRPr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0960" y="785795"/>
            <a:ext cx="11518004" cy="1438851"/>
          </a:xfrm>
        </p:spPr>
        <p:txBody>
          <a:bodyPr/>
          <a:lstStyle>
            <a:lvl1pPr marL="176213" indent="-176213">
              <a:spcBef>
                <a:spcPts val="600"/>
              </a:spcBef>
              <a:buClrTx/>
              <a:buSzPct val="75000"/>
              <a:defRPr sz="1600" baseline="0">
                <a:solidFill>
                  <a:schemeClr val="accent6">
                    <a:lumMod val="75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  <a:lvl2pPr marL="355600" indent="-177800">
              <a:lnSpc>
                <a:spcPct val="110000"/>
              </a:lnSpc>
              <a:spcBef>
                <a:spcPts val="300"/>
              </a:spcBef>
              <a:buSzPct val="70000"/>
              <a:defRPr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2pPr>
            <a:lvl3pPr marL="628650" indent="-176213">
              <a:spcBef>
                <a:spcPts val="200"/>
              </a:spcBef>
              <a:defRPr b="0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3pPr>
            <a:lvl4pPr marL="808038" indent="-228600">
              <a:defRPr b="0"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4pPr>
            <a:lvl5pPr>
              <a:defRPr baseline="0"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9173329" y="6429397"/>
            <a:ext cx="2901482" cy="307777"/>
          </a:xfrm>
          <a:prstGeom prst="rect">
            <a:avLst/>
          </a:prstGeom>
          <a:noFill/>
          <a:ln w="9525" algn="ctr">
            <a:solidFill>
              <a:srgbClr val="FF000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charset="-127"/>
                <a:ea typeface="굴림" charset="-127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40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charset="0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173771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9"/>
          <p:cNvSpPr>
            <a:spLocks noChangeShapeType="1"/>
          </p:cNvSpPr>
          <p:nvPr userDrawn="1"/>
        </p:nvSpPr>
        <p:spPr bwMode="auto">
          <a:xfrm>
            <a:off x="0" y="476672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375811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851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F0AF381-EE26-1F41-13AC-A840EDF030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82CF38E-FA7D-D1AD-15C1-9C54C62EB5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6FE94E6-4D4F-7128-BAB5-B002391C1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A541F39-F53B-DA12-ADE2-8BEA3DDF2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F60F559-A0F9-6BB9-F3EB-B174B7494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6286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C6F906E-66C5-F59E-667C-4C97F2514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ED7167C-7664-C06E-D163-D68532A3C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3D61449-7CA2-CDAB-199E-98F385855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F7C357C-C699-FE69-5525-2870302FE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B04B0EA-F19D-7CBB-C75A-42ABA06FC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0265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D673879-9B52-4517-875E-C42A74807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73DC092-893A-B293-E22C-6129BFC8A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A09B480-53E3-C396-B65A-6767E1C39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C416782-D25A-321F-1722-524A9E6DC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81AF8E8-868A-C790-A602-DB3C18CCD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4034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1307104-6A88-C0CE-5E3C-0AB932542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08F6B99-BED9-FF7F-FB57-8FF2701321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8D0C961-C28B-0818-AF4A-668C80CD15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35439FE-ED31-B5B5-9608-0291B8E3EC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BBB01B1-C3AA-5AA8-195E-35E68DA42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B92DD2E-7E60-E81F-ED95-7111E2F2D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7437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D64AC0-6D71-B39C-2722-7C0BD7A2F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1E75BF7-4C28-5477-1772-730986FB1C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67579DCD-EF86-2016-F134-819219C243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7E374077-3A12-2BCB-B7A1-2A2D22536C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7F347DE-C61F-42C0-7F6F-504F45C51F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18CE7CF1-C4AE-BFAF-36C1-47E1C969D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75E2D167-5A3D-D9A5-C0A8-971844A1D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D88AFA76-A727-A456-A3C4-D8523768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623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466C19C-E1A3-8FB5-E4D1-84E7B0682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27BF4D0-2F4A-2505-D47A-C024E3BDC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FACF0813-6793-11B5-ED8A-37B387420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C26367B6-4353-1C4C-6912-EEAE3A7B6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8447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8CAE83E8-280B-A6D5-3A7D-7E068FF34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CB9D78C2-FCD3-6BF5-DAAF-D26C79D84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291E2B63-FFFE-C14C-4547-518D3AE7A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17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77724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8620" y="6386473"/>
            <a:ext cx="971368" cy="421758"/>
          </a:xfrm>
          <a:prstGeom prst="rect">
            <a:avLst/>
          </a:prstGeom>
          <a:noFill/>
        </p:spPr>
      </p:pic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4724400" y="64945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fld id="{F215B1D4-4ECD-4DDE-91CE-96B0C20A54A9}" type="slidenum">
              <a:rPr lang="ko-KR" altLang="en-US" sz="1400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36</a:t>
            </a:r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2167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269D476-BA4D-E802-3020-4DED3054E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CE5063D-78B3-FCDF-7426-5C730CD8D3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90ABD245-6D72-3478-E05D-722DA1E36B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9E58611-FBBC-AEDC-AE10-5AECFD914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D35BDC5-1C80-4002-14E2-34F9B599B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ABA68A1-4A55-F9CC-B3B9-C5773BA05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0852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8C8FB34-3AA7-3367-5C17-430403FE2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8F2037B-9036-A3EA-4B4F-8090040ECB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F6A4497-EAC6-3636-B9EF-89F2B47FFA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5E9A3B99-41B8-DB6F-6F3C-4BE61247B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4286A20-24D7-90BD-C63F-FC14543F5B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21C5226-BF28-857B-DCE1-DB64A6F82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2601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E23FBE4-1ADF-408A-C959-C6B1A25CE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5BD85EDF-4243-6F46-4ACF-F574B4080C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B7253AE-ACA4-F36C-F29B-7BA92B0A3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7EECA45-063B-8CAD-D93F-8703B7C9B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31082CE-4D1F-EFFB-0EF5-61B10E697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412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38F396E2-EF8E-CF65-E6A9-302F0233EF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1C1785E-151D-BAA6-44DC-B8EE2CA26C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CBC13BB-838B-A5FC-62A1-B4B1E90AE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2604C-8EAD-4006-A800-F21047AD1BE8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4-1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1868C5D8-0BAD-0212-1BEE-7F17CED45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428EE3C-941F-FC33-DF19-714392540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46E0F-309B-4E1D-9F39-14B9DAA649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9828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87731" y="144839"/>
            <a:ext cx="1971694" cy="2500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1625" b="1" baseline="0">
                <a:latin typeface="+mn-lt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9050430" y="206397"/>
            <a:ext cx="2303516" cy="20005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r">
              <a:buNone/>
              <a:defRPr lang="ko-KR" altLang="en-US" sz="1300" b="1" baseline="0" dirty="0" smtClean="0">
                <a:solidFill>
                  <a:schemeClr val="tx2"/>
                </a:solidFill>
                <a:ea typeface="+mj-ea"/>
                <a:cs typeface="+mj-cs"/>
              </a:defRPr>
            </a:lvl1pPr>
            <a:lvl2pPr>
              <a:defRPr lang="ko-KR" altLang="en-US" sz="3576" dirty="0" smtClean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2pPr>
            <a:lvl3pPr>
              <a:defRPr lang="ko-KR" altLang="en-US" sz="3576" dirty="0" smtClean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3pPr>
            <a:lvl4pPr>
              <a:defRPr lang="ko-KR" altLang="en-US" sz="3576" dirty="0" smtClean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4pPr>
            <a:lvl5pPr>
              <a:defRPr lang="ko-KR" altLang="en-US" sz="3576" dirty="0">
                <a:solidFill>
                  <a:schemeClr val="tx2"/>
                </a:solidFill>
                <a:latin typeface="굴림" pitchFamily="50" charset="-127"/>
                <a:ea typeface="굴림" pitchFamily="50" charset="-127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ko-KR" altLang="en-US"/>
              <a:t>마스터 텍스트 스타일을 편집합니다</a:t>
            </a:r>
          </a:p>
        </p:txBody>
      </p:sp>
      <p:sp>
        <p:nvSpPr>
          <p:cNvPr id="7" name="Line 14"/>
          <p:cNvSpPr>
            <a:spLocks noChangeShapeType="1"/>
          </p:cNvSpPr>
          <p:nvPr userDrawn="1"/>
        </p:nvSpPr>
        <p:spPr bwMode="auto">
          <a:xfrm>
            <a:off x="0" y="534988"/>
            <a:ext cx="12192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sz="1463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372084" y="196874"/>
            <a:ext cx="1217000" cy="24237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75" b="0" dirty="0">
                <a:solidFill>
                  <a:prstClr val="white">
                    <a:lumMod val="75000"/>
                  </a:prstClr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68630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4"/>
          <p:cNvSpPr>
            <a:spLocks noChangeShapeType="1"/>
          </p:cNvSpPr>
          <p:nvPr userDrawn="1"/>
        </p:nvSpPr>
        <p:spPr bwMode="auto">
          <a:xfrm>
            <a:off x="0" y="534988"/>
            <a:ext cx="12192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 sz="1463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5372084" y="196874"/>
            <a:ext cx="1217000" cy="24237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975" b="0" dirty="0">
                <a:solidFill>
                  <a:prstClr val="white">
                    <a:lumMod val="75000"/>
                  </a:prstClr>
                </a:solidFill>
                <a:latin typeface="Arial Narrow"/>
                <a:ea typeface="LG스마트체 Regular"/>
              </a:rPr>
              <a:t>LG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247222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920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직사각형 4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4794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8"/>
          <p:cNvSpPr>
            <a:spLocks noGrp="1"/>
          </p:cNvSpPr>
          <p:nvPr>
            <p:ph type="title"/>
          </p:nvPr>
        </p:nvSpPr>
        <p:spPr>
          <a:xfrm>
            <a:off x="609600" y="1196752"/>
            <a:ext cx="10972800" cy="1143000"/>
          </a:xfrm>
          <a:prstGeom prst="rect">
            <a:avLst/>
          </a:prstGeom>
        </p:spPr>
        <p:txBody>
          <a:bodyPr rtlCol="0">
            <a:normAutofit/>
          </a:bodyPr>
          <a:lstStyle>
            <a:lvl1pPr algn="ctr">
              <a:defRPr sz="3200" b="1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68604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920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655258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직선 연결선 2"/>
          <p:cNvCxnSpPr>
            <a:cxnSpLocks noChangeShapeType="1"/>
          </p:cNvCxnSpPr>
          <p:nvPr userDrawn="1"/>
        </p:nvCxnSpPr>
        <p:spPr bwMode="auto">
          <a:xfrm>
            <a:off x="0" y="549275"/>
            <a:ext cx="121920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직사각형 4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70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887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77724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5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28620" y="6386473"/>
            <a:ext cx="971368" cy="421758"/>
          </a:xfrm>
          <a:prstGeom prst="rect">
            <a:avLst/>
          </a:prstGeom>
          <a:noFill/>
        </p:spPr>
      </p:pic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4724400" y="64945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fld id="{F215B1D4-4ECD-4DDE-91CE-96B0C20A54A9}" type="slidenum">
              <a:rPr lang="ko-KR" altLang="en-US" sz="1400" smtClean="0">
                <a:solidFill>
                  <a:prstClr val="black"/>
                </a:solidFill>
              </a:rPr>
              <a:pPr/>
              <a:t>‹#›</a:t>
            </a:fld>
            <a:r>
              <a:rPr lang="ko-KR" altLang="en-US">
                <a:solidFill>
                  <a:prstClr val="black"/>
                </a:solidFill>
              </a:rPr>
              <a:t> </a:t>
            </a:r>
            <a:r>
              <a:rPr lang="en-US" altLang="ko-KR">
                <a:solidFill>
                  <a:prstClr val="black"/>
                </a:solidFill>
              </a:rPr>
              <a:t>/ 36</a:t>
            </a:r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67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8630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2209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.png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.png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33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3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5.svg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heme" Target="../theme/theme19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58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59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6231006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4"/>
          <p:cNvSpPr>
            <a:spLocks noChangeShapeType="1"/>
          </p:cNvSpPr>
          <p:nvPr userDrawn="1"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439764" y="125413"/>
            <a:ext cx="1284255" cy="25388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defRPr/>
            </a:pPr>
            <a:r>
              <a:rPr lang="en-US" altLang="ko-KR" sz="1050" b="0">
                <a:solidFill>
                  <a:srgbClr val="FFFFFF">
                    <a:lumMod val="75000"/>
                  </a:srgb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LGE Internal Use Only</a:t>
            </a:r>
            <a:endParaRPr lang="ko-KR" altLang="en-US" sz="1050" b="0">
              <a:solidFill>
                <a:srgbClr val="FFFFFF">
                  <a:lumMod val="75000"/>
                </a:srgbClr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12900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923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519449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1038899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558345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2077793" algn="ctr" rtl="0" fontAlgn="base" latinLnBrk="1">
        <a:spcBef>
          <a:spcPct val="0"/>
        </a:spcBef>
        <a:spcAft>
          <a:spcPct val="0"/>
        </a:spcAft>
        <a:defRPr kumimoji="1" sz="50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86881" indent="-386881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569">
          <a:solidFill>
            <a:schemeClr val="tx1"/>
          </a:solidFill>
          <a:latin typeface="+mn-lt"/>
          <a:ea typeface="+mn-ea"/>
          <a:cs typeface="+mn-cs"/>
        </a:defRPr>
      </a:lvl1pPr>
      <a:lvl2pPr marL="842150" indent="-322401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3077">
          <a:solidFill>
            <a:schemeClr val="tx1"/>
          </a:solidFill>
          <a:latin typeface="+mn-lt"/>
          <a:ea typeface="+mn-ea"/>
        </a:defRPr>
      </a:lvl2pPr>
      <a:lvl3pPr marL="1295465" indent="-255967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708">
          <a:solidFill>
            <a:schemeClr val="tx1"/>
          </a:solidFill>
          <a:latin typeface="+mn-lt"/>
          <a:ea typeface="+mn-ea"/>
        </a:defRPr>
      </a:lvl3pPr>
      <a:lvl4pPr marL="1815215" indent="-25596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>
          <a:solidFill>
            <a:schemeClr val="tx1"/>
          </a:solidFill>
          <a:latin typeface="+mn-lt"/>
          <a:ea typeface="+mn-ea"/>
        </a:defRPr>
      </a:lvl4pPr>
      <a:lvl5pPr marL="2334963" indent="-255967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+mn-lt"/>
          <a:ea typeface="+mn-ea"/>
        </a:defRPr>
      </a:lvl5pPr>
      <a:lvl6pPr marL="2856966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6pPr>
      <a:lvl7pPr marL="3376417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7pPr>
      <a:lvl8pPr marL="3895866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8pPr>
      <a:lvl9pPr marL="4415312" indent="-259725" algn="l" rtl="0" fontAlgn="base" latinLnBrk="1">
        <a:spcBef>
          <a:spcPct val="20000"/>
        </a:spcBef>
        <a:spcAft>
          <a:spcPct val="0"/>
        </a:spcAft>
        <a:buChar char="»"/>
        <a:defRPr kumimoji="1" sz="2273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1pPr>
      <a:lvl2pPr marL="519449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2pPr>
      <a:lvl3pPr marL="1038899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3pPr>
      <a:lvl4pPr marL="1558345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4pPr>
      <a:lvl5pPr marL="2077793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5pPr>
      <a:lvl6pPr marL="2597243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6pPr>
      <a:lvl7pPr marL="3116691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7pPr>
      <a:lvl8pPr marL="3636139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8pPr>
      <a:lvl9pPr marL="4155588" algn="l" defTabSz="1038899" rtl="0" eaLnBrk="1" latinLnBrk="1" hangingPunct="1">
        <a:defRPr sz="20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5480300" y="128271"/>
            <a:ext cx="1231404" cy="24620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 algn="ctr">
              <a:defRPr/>
            </a:pPr>
            <a:r>
              <a:rPr lang="en-US" altLang="ko-KR" sz="1000" b="0">
                <a:solidFill>
                  <a:srgbClr val="BFBFBF"/>
                </a:solidFill>
                <a:latin typeface="Arial Narrow" panose="020B0606020202030204" pitchFamily="34" charset="0"/>
                <a:cs typeface="Arial" charset="0"/>
              </a:rPr>
              <a:t>LGE Internal Use Only</a:t>
            </a:r>
            <a:endParaRPr lang="ko-KR" altLang="en-US" sz="1000" b="0">
              <a:solidFill>
                <a:srgbClr val="BFBFBF"/>
              </a:solidFill>
              <a:latin typeface="Arial Narrow" panose="020B0606020202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645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63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74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86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97" indent="-228606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66079" y="542925"/>
            <a:ext cx="11725030" cy="6288088"/>
            <a:chOff x="77" y="335"/>
            <a:chExt cx="5429" cy="3882"/>
          </a:xfrm>
        </p:grpSpPr>
        <p:sp>
          <p:nvSpPr>
            <p:cNvPr id="3891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57287" latinLnBrk="0">
                <a:defRPr/>
              </a:pPr>
              <a:r>
                <a:rPr kumimoji="0" lang="en-US" altLang="ko-KR" sz="17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Unit of measure</a:t>
              </a:r>
            </a:p>
          </p:txBody>
        </p:sp>
        <p:sp>
          <p:nvSpPr>
            <p:cNvPr id="3891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14378" indent="-614378" defTabSz="957287" latinLnBrk="0"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	*	Footnote</a:t>
              </a:r>
            </a:p>
            <a:p>
              <a:pPr marL="614378" indent="-614378" defTabSz="957287" latinLnBrk="0">
                <a:spcBef>
                  <a:spcPct val="20000"/>
                </a:spcBef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Source:		Source</a:t>
              </a:r>
            </a:p>
          </p:txBody>
        </p:sp>
      </p:grpSp>
      <p:sp>
        <p:nvSpPr>
          <p:cNvPr id="3891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1138021" y="2793083"/>
            <a:ext cx="19203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itchFamily="18" charset="-127"/>
              </a:rPr>
              <a:t>Working Draft - Last Modified 4/14/2004 11:42:37 AM</a:t>
            </a:r>
          </a:p>
        </p:txBody>
      </p:sp>
      <p:sp>
        <p:nvSpPr>
          <p:cNvPr id="38920" name="Printed" hidden="1"/>
          <p:cNvSpPr txBox="1">
            <a:spLocks noChangeArrowheads="1"/>
          </p:cNvSpPr>
          <p:nvPr userDrawn="1"/>
        </p:nvSpPr>
        <p:spPr bwMode="auto">
          <a:xfrm rot="5400000">
            <a:off x="11978695" y="3928146"/>
            <a:ext cx="246862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굴림" pitchFamily="50" charset="-127"/>
              </a:rPr>
              <a:t>Printed</a:t>
            </a:r>
          </a:p>
        </p:txBody>
      </p:sp>
      <p:sp>
        <p:nvSpPr>
          <p:cNvPr id="8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41" tIns="42173" rIns="84341" bIns="42173"/>
          <a:lstStyle/>
          <a:p>
            <a:pPr>
              <a:defRPr/>
            </a:pPr>
            <a:endParaRPr lang="ko-KR" altLang="en-US" sz="1846">
              <a:solidFill>
                <a:srgbClr val="000000"/>
              </a:solidFill>
              <a:ea typeface="LG스마트체 Regular" pitchFamily="50" charset="-127"/>
            </a:endParaRPr>
          </a:p>
        </p:txBody>
      </p:sp>
      <p:pic>
        <p:nvPicPr>
          <p:cNvPr id="9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843031" y="6386473"/>
            <a:ext cx="1195530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2378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</p:sldLayoutIdLst>
  <p:txStyles>
    <p:titleStyle>
      <a:lvl1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2pPr>
      <a:lvl3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3pPr>
      <a:lvl4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4pPr>
      <a:lvl5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5pPr>
      <a:lvl6pPr marL="457212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6pPr>
      <a:lvl7pPr marL="914423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34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46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defRPr kumimoji="1" sz="1600" b="1">
          <a:solidFill>
            <a:schemeClr val="tx1"/>
          </a:solidFill>
          <a:latin typeface="+mn-lt"/>
          <a:ea typeface="+mn-ea"/>
          <a:cs typeface="+mn-cs"/>
        </a:defRPr>
      </a:lvl1pPr>
      <a:lvl2pPr marL="153992" indent="-152404"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2pPr>
      <a:lvl3pPr marL="315921" indent="-160342" algn="l" defTabSz="957287" rtl="0" eaLnBrk="0" fontAlgn="base" latinLnBrk="1" hangingPunct="0">
        <a:spcBef>
          <a:spcPct val="0"/>
        </a:spcBef>
        <a:spcAft>
          <a:spcPct val="0"/>
        </a:spcAft>
        <a:buChar char="–"/>
        <a:defRPr kumimoji="1" sz="1600" b="1">
          <a:solidFill>
            <a:schemeClr val="tx1"/>
          </a:solidFill>
          <a:latin typeface="+mn-lt"/>
          <a:ea typeface="+mn-ea"/>
        </a:defRPr>
      </a:lvl3pPr>
      <a:lvl4pPr marL="461975" indent="-144467" algn="l" defTabSz="957287" rtl="0" eaLnBrk="0" fontAlgn="base" latinLnBrk="1" hangingPunct="0">
        <a:spcBef>
          <a:spcPct val="0"/>
        </a:spcBef>
        <a:spcAft>
          <a:spcPct val="0"/>
        </a:spcAft>
        <a:buSzPct val="89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4pPr>
      <a:lvl5pPr marL="622316" indent="-158754" algn="l" defTabSz="957287" rtl="0" eaLnBrk="0" fontAlgn="base" latinLnBrk="1" hangingPunct="0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5pPr>
      <a:lvl6pPr marL="1079527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6pPr>
      <a:lvl7pPr marL="1536738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7pPr>
      <a:lvl8pPr marL="1993950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8pPr>
      <a:lvl9pPr marL="2451161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66079" y="542925"/>
            <a:ext cx="11725030" cy="6288088"/>
            <a:chOff x="77" y="335"/>
            <a:chExt cx="5429" cy="3882"/>
          </a:xfrm>
        </p:grpSpPr>
        <p:sp>
          <p:nvSpPr>
            <p:cNvPr id="3891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57287" latinLnBrk="0">
                <a:defRPr/>
              </a:pPr>
              <a:r>
                <a:rPr kumimoji="0" lang="en-US" altLang="ko-KR" sz="17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Unit of measure</a:t>
              </a:r>
            </a:p>
          </p:txBody>
        </p:sp>
        <p:sp>
          <p:nvSpPr>
            <p:cNvPr id="3891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14378" indent="-614378" defTabSz="957287" latinLnBrk="0"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	*	Footnote</a:t>
              </a:r>
            </a:p>
            <a:p>
              <a:pPr marL="614378" indent="-614378" defTabSz="957287" latinLnBrk="0">
                <a:spcBef>
                  <a:spcPct val="20000"/>
                </a:spcBef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Source:		Source</a:t>
              </a:r>
            </a:p>
          </p:txBody>
        </p:sp>
      </p:grpSp>
      <p:sp>
        <p:nvSpPr>
          <p:cNvPr id="3891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1138021" y="2793083"/>
            <a:ext cx="19203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itchFamily="18" charset="-127"/>
              </a:rPr>
              <a:t>Working Draft - Last Modified 4/14/2004 11:42:37 AM</a:t>
            </a:r>
          </a:p>
        </p:txBody>
      </p:sp>
      <p:sp>
        <p:nvSpPr>
          <p:cNvPr id="38920" name="Printed" hidden="1"/>
          <p:cNvSpPr txBox="1">
            <a:spLocks noChangeArrowheads="1"/>
          </p:cNvSpPr>
          <p:nvPr userDrawn="1"/>
        </p:nvSpPr>
        <p:spPr bwMode="auto">
          <a:xfrm rot="5400000">
            <a:off x="11978695" y="3928146"/>
            <a:ext cx="246862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굴림" pitchFamily="50" charset="-127"/>
              </a:rPr>
              <a:t>Printed</a:t>
            </a:r>
          </a:p>
        </p:txBody>
      </p:sp>
      <p:sp>
        <p:nvSpPr>
          <p:cNvPr id="8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41" tIns="42173" rIns="84341" bIns="42173"/>
          <a:lstStyle/>
          <a:p>
            <a:pPr>
              <a:defRPr/>
            </a:pPr>
            <a:endParaRPr lang="ko-KR" altLang="en-US" sz="1846">
              <a:solidFill>
                <a:srgbClr val="000000"/>
              </a:solidFill>
              <a:ea typeface="LG스마트체 Regular" pitchFamily="50" charset="-127"/>
            </a:endParaRPr>
          </a:p>
        </p:txBody>
      </p:sp>
      <p:pic>
        <p:nvPicPr>
          <p:cNvPr id="9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843031" y="6386473"/>
            <a:ext cx="1195530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18467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</p:sldLayoutIdLst>
  <p:txStyles>
    <p:titleStyle>
      <a:lvl1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2pPr>
      <a:lvl3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3pPr>
      <a:lvl4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4pPr>
      <a:lvl5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5pPr>
      <a:lvl6pPr marL="457212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6pPr>
      <a:lvl7pPr marL="914423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34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46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defRPr kumimoji="1" sz="1600" b="1">
          <a:solidFill>
            <a:schemeClr val="tx1"/>
          </a:solidFill>
          <a:latin typeface="+mn-lt"/>
          <a:ea typeface="+mn-ea"/>
          <a:cs typeface="+mn-cs"/>
        </a:defRPr>
      </a:lvl1pPr>
      <a:lvl2pPr marL="153992" indent="-152404"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2pPr>
      <a:lvl3pPr marL="315921" indent="-160342" algn="l" defTabSz="957287" rtl="0" eaLnBrk="0" fontAlgn="base" latinLnBrk="1" hangingPunct="0">
        <a:spcBef>
          <a:spcPct val="0"/>
        </a:spcBef>
        <a:spcAft>
          <a:spcPct val="0"/>
        </a:spcAft>
        <a:buChar char="–"/>
        <a:defRPr kumimoji="1" sz="1600" b="1">
          <a:solidFill>
            <a:schemeClr val="tx1"/>
          </a:solidFill>
          <a:latin typeface="+mn-lt"/>
          <a:ea typeface="+mn-ea"/>
        </a:defRPr>
      </a:lvl3pPr>
      <a:lvl4pPr marL="461975" indent="-144467" algn="l" defTabSz="957287" rtl="0" eaLnBrk="0" fontAlgn="base" latinLnBrk="1" hangingPunct="0">
        <a:spcBef>
          <a:spcPct val="0"/>
        </a:spcBef>
        <a:spcAft>
          <a:spcPct val="0"/>
        </a:spcAft>
        <a:buSzPct val="89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4pPr>
      <a:lvl5pPr marL="622316" indent="-158754" algn="l" defTabSz="957287" rtl="0" eaLnBrk="0" fontAlgn="base" latinLnBrk="1" hangingPunct="0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5pPr>
      <a:lvl6pPr marL="1079527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6pPr>
      <a:lvl7pPr marL="1536738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7pPr>
      <a:lvl8pPr marL="1993950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8pPr>
      <a:lvl9pPr marL="2451161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66079" y="542925"/>
            <a:ext cx="11725030" cy="6288088"/>
            <a:chOff x="77" y="335"/>
            <a:chExt cx="5429" cy="3882"/>
          </a:xfrm>
        </p:grpSpPr>
        <p:sp>
          <p:nvSpPr>
            <p:cNvPr id="3891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57287" latinLnBrk="0">
                <a:defRPr/>
              </a:pPr>
              <a:r>
                <a:rPr kumimoji="0" lang="en-US" altLang="ko-KR" sz="17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Unit of measure</a:t>
              </a:r>
            </a:p>
          </p:txBody>
        </p:sp>
        <p:sp>
          <p:nvSpPr>
            <p:cNvPr id="3891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45"/>
              <a:ext cx="5145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14378" indent="-614378" defTabSz="957287" latinLnBrk="0"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	*	Footnote</a:t>
              </a:r>
            </a:p>
            <a:p>
              <a:pPr marL="614378" indent="-614378" defTabSz="957287" latinLnBrk="0">
                <a:spcBef>
                  <a:spcPct val="20000"/>
                </a:spcBef>
                <a:tabLst>
                  <a:tab pos="569927" algn="r"/>
                </a:tabLst>
                <a:defRPr/>
              </a:pPr>
              <a:r>
                <a:rPr kumimoji="0" lang="en-US" altLang="ko-KR" sz="1300" b="0">
                  <a:solidFill>
                    <a:srgbClr val="000000"/>
                  </a:solidFill>
                  <a:latin typeface="LG스마트체 Regular" panose="020B0600000101010101" pitchFamily="50" charset="-127"/>
                  <a:ea typeface="굴림" pitchFamily="50" charset="-127"/>
                </a:rPr>
                <a:t>Source:		Source</a:t>
              </a:r>
            </a:p>
          </p:txBody>
        </p:sp>
      </p:grpSp>
      <p:sp>
        <p:nvSpPr>
          <p:cNvPr id="3891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11138021" y="2793083"/>
            <a:ext cx="192039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itchFamily="18" charset="-127"/>
              </a:rPr>
              <a:t>Working Draft - Last Modified 4/14/2004 11:42:37 AM</a:t>
            </a:r>
          </a:p>
        </p:txBody>
      </p:sp>
      <p:sp>
        <p:nvSpPr>
          <p:cNvPr id="38920" name="Printed" hidden="1"/>
          <p:cNvSpPr txBox="1">
            <a:spLocks noChangeArrowheads="1"/>
          </p:cNvSpPr>
          <p:nvPr userDrawn="1"/>
        </p:nvSpPr>
        <p:spPr bwMode="auto">
          <a:xfrm rot="5400000">
            <a:off x="11978695" y="3928146"/>
            <a:ext cx="246862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77924" latinLnBrk="0">
              <a:defRPr/>
            </a:pPr>
            <a:r>
              <a:rPr kumimoji="0" lang="en-US" altLang="ko-KR" sz="600" b="0">
                <a:solidFill>
                  <a:srgbClr val="000000"/>
                </a:solidFill>
                <a:latin typeface="LG스마트체 Regular" panose="020B0600000101010101" pitchFamily="50" charset="-127"/>
                <a:ea typeface="굴림" pitchFamily="50" charset="-127"/>
              </a:rPr>
              <a:t>Printed</a:t>
            </a:r>
          </a:p>
        </p:txBody>
      </p:sp>
      <p:sp>
        <p:nvSpPr>
          <p:cNvPr id="8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84341" tIns="42173" rIns="84341" bIns="42173"/>
          <a:lstStyle/>
          <a:p>
            <a:pPr>
              <a:defRPr/>
            </a:pPr>
            <a:endParaRPr lang="ko-KR" altLang="en-US" sz="1846">
              <a:solidFill>
                <a:srgbClr val="000000"/>
              </a:solidFill>
              <a:ea typeface="LG스마트체 Regular" pitchFamily="50" charset="-127"/>
            </a:endParaRPr>
          </a:p>
        </p:txBody>
      </p:sp>
      <p:pic>
        <p:nvPicPr>
          <p:cNvPr id="9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43031" y="6386473"/>
            <a:ext cx="1195530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363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</p:sldLayoutIdLst>
  <p:txStyles>
    <p:titleStyle>
      <a:lvl1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2pPr>
      <a:lvl3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3pPr>
      <a:lvl4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4pPr>
      <a:lvl5pPr algn="l" defTabSz="957287" rtl="0" eaLnBrk="0" fontAlgn="base" latinLnBrk="1" hangingPunct="0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5pPr>
      <a:lvl6pPr marL="457212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6pPr>
      <a:lvl7pPr marL="914423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34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46" algn="l" defTabSz="957287" rtl="0" fontAlgn="base" latinLnBrk="1">
        <a:spcBef>
          <a:spcPct val="0"/>
        </a:spcBef>
        <a:spcAft>
          <a:spcPct val="0"/>
        </a:spcAft>
        <a:defRPr kumimoji="1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defRPr kumimoji="1" sz="1600" b="1">
          <a:solidFill>
            <a:schemeClr val="tx1"/>
          </a:solidFill>
          <a:latin typeface="+mn-lt"/>
          <a:ea typeface="+mn-ea"/>
          <a:cs typeface="+mn-cs"/>
        </a:defRPr>
      </a:lvl1pPr>
      <a:lvl2pPr marL="153992" indent="-152404" algn="l" defTabSz="957287" rtl="0" eaLnBrk="0" fontAlgn="base" latinLnBrk="1" hangingPunct="0">
        <a:spcBef>
          <a:spcPct val="0"/>
        </a:spcBef>
        <a:spcAft>
          <a:spcPct val="0"/>
        </a:spcAft>
        <a:buSzPct val="120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2pPr>
      <a:lvl3pPr marL="315921" indent="-160342" algn="l" defTabSz="957287" rtl="0" eaLnBrk="0" fontAlgn="base" latinLnBrk="1" hangingPunct="0">
        <a:spcBef>
          <a:spcPct val="0"/>
        </a:spcBef>
        <a:spcAft>
          <a:spcPct val="0"/>
        </a:spcAft>
        <a:buChar char="–"/>
        <a:defRPr kumimoji="1" sz="1600" b="1">
          <a:solidFill>
            <a:schemeClr val="tx1"/>
          </a:solidFill>
          <a:latin typeface="+mn-lt"/>
          <a:ea typeface="+mn-ea"/>
        </a:defRPr>
      </a:lvl3pPr>
      <a:lvl4pPr marL="461975" indent="-144467" algn="l" defTabSz="957287" rtl="0" eaLnBrk="0" fontAlgn="base" latinLnBrk="1" hangingPunct="0">
        <a:spcBef>
          <a:spcPct val="0"/>
        </a:spcBef>
        <a:spcAft>
          <a:spcPct val="0"/>
        </a:spcAft>
        <a:buSzPct val="89000"/>
        <a:buChar char="•"/>
        <a:defRPr kumimoji="1" sz="1600" b="1">
          <a:solidFill>
            <a:schemeClr val="tx1"/>
          </a:solidFill>
          <a:latin typeface="+mn-lt"/>
          <a:ea typeface="+mn-ea"/>
        </a:defRPr>
      </a:lvl4pPr>
      <a:lvl5pPr marL="622316" indent="-158754" algn="l" defTabSz="957287" rtl="0" eaLnBrk="0" fontAlgn="base" latinLnBrk="1" hangingPunct="0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5pPr>
      <a:lvl6pPr marL="1079527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6pPr>
      <a:lvl7pPr marL="1536738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7pPr>
      <a:lvl8pPr marL="1993950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8pPr>
      <a:lvl9pPr marL="2451161" indent="-158754" algn="l" defTabSz="957287" rtl="0" fontAlgn="base" latinLnBrk="1">
        <a:spcBef>
          <a:spcPct val="0"/>
        </a:spcBef>
        <a:spcAft>
          <a:spcPct val="0"/>
        </a:spcAft>
        <a:buSzPct val="75000"/>
        <a:buChar char="–"/>
        <a:defRPr kumimoji="1"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9205" y="110534"/>
            <a:ext cx="8222427" cy="345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5665164" y="6491912"/>
            <a:ext cx="785337" cy="210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 defTabSz="914290" fontAlgn="auto">
              <a:spcBef>
                <a:spcPts val="0"/>
              </a:spcBef>
              <a:spcAft>
                <a:spcPts val="0"/>
              </a:spcAft>
            </a:pPr>
            <a:fld id="{85EA48AA-190A-48EB-A50C-AA4A94C70FB2}" type="slidenum">
              <a:rPr kumimoji="0" lang="ko-KR" altLang="en-US" b="0" smtClean="0">
                <a:solidFill>
                  <a:prstClr val="black">
                    <a:tint val="75000"/>
                  </a:prstClr>
                </a:solidFill>
                <a:latin typeface="Arial Narrow"/>
                <a:ea typeface="LG스마트체 Regular"/>
              </a:rPr>
              <a:pPr algn="ctr" defTabSz="91429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kumimoji="0" lang="ko-KR" altLang="en-US" b="0">
                <a:solidFill>
                  <a:prstClr val="black">
                    <a:tint val="75000"/>
                  </a:prstClr>
                </a:solidFill>
                <a:latin typeface="Arial Narrow"/>
                <a:ea typeface="LG스마트체 Regular"/>
              </a:rPr>
              <a:t> </a:t>
            </a:r>
            <a:r>
              <a:rPr kumimoji="0" lang="en-US" altLang="ko-KR" b="0">
                <a:solidFill>
                  <a:prstClr val="black">
                    <a:tint val="75000"/>
                  </a:prstClr>
                </a:solidFill>
                <a:latin typeface="Arial Narrow"/>
                <a:ea typeface="LG스마트체 Regular"/>
              </a:rPr>
              <a:t>/ N</a:t>
            </a:r>
            <a:endParaRPr kumimoji="0" lang="ko-KR" altLang="en-US" b="0">
              <a:solidFill>
                <a:prstClr val="black">
                  <a:tint val="75000"/>
                </a:prstClr>
              </a:solidFill>
              <a:latin typeface="Arial Narrow"/>
              <a:ea typeface="LG스마트체 Regular"/>
            </a:endParaRP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12528" tIns="56263" rIns="112528" bIns="56263"/>
          <a:lstStyle/>
          <a:p>
            <a:pPr defTabSz="1125336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600">
              <a:solidFill>
                <a:srgbClr val="000000"/>
              </a:solidFill>
              <a:latin typeface="Arial Narrow"/>
              <a:ea typeface="LG스마트체 Regular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197135" y="0"/>
            <a:ext cx="1765227" cy="281744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914290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31" b="0">
                <a:solidFill>
                  <a:prstClr val="white">
                    <a:lumMod val="75000"/>
                  </a:prstClr>
                </a:solidFill>
                <a:latin typeface="Arial" charset="0"/>
                <a:ea typeface="LG스마트체 Regular"/>
              </a:rPr>
              <a:t>LGE Internal Use Only</a:t>
            </a:r>
          </a:p>
        </p:txBody>
      </p:sp>
      <p:pic>
        <p:nvPicPr>
          <p:cNvPr id="7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48528" y="6386473"/>
            <a:ext cx="1195721" cy="4217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045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</p:sldLayoutIdLst>
  <p:txStyles>
    <p:titleStyle>
      <a:lvl1pPr algn="l" defTabSz="1125472" rtl="0" eaLnBrk="1" latinLnBrk="1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125472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None/>
        <a:defRPr sz="2215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844104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39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75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312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5047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519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254" indent="-281368" algn="l" defTabSz="1125472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1125472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317782" y="116632"/>
            <a:ext cx="3065845" cy="3497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87279" tIns="43639" rIns="87279" bIns="43639" numCol="1" anchor="ctr" anchorCtr="0" compatLnSpc="1">
            <a:prstTxWarp prst="textNoShape">
              <a:avLst/>
            </a:prstTxWarp>
            <a:noAutofit/>
          </a:bodyPr>
          <a:lstStyle/>
          <a:p>
            <a:pPr lvl="0" algn="l" defTabSz="709450" rtl="0" eaLnBrk="0" fontAlgn="base" latinLnBrk="1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dirty="0"/>
              <a:t>마스터 제목 스타일 편집</a:t>
            </a: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2118" y="533400"/>
            <a:ext cx="121898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0">
              <a:spcBef>
                <a:spcPct val="50000"/>
              </a:spcBef>
              <a:defRPr/>
            </a:pPr>
            <a:endParaRPr lang="en-US" sz="975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959743" y="6627846"/>
            <a:ext cx="272510" cy="1538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latinLnBrk="0">
              <a:buSzPct val="75000"/>
            </a:pPr>
            <a:fld id="{C58E0D77-207D-4EF4-9BC7-8EA72444D06E}" type="slidenum">
              <a:rPr kumimoji="0" lang="ko-KR" altLang="en-US" sz="1000" b="0" smtClean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pPr algn="ctr" latinLnBrk="0">
                <a:buSzPct val="75000"/>
              </a:pPr>
              <a:t>‹#›</a:t>
            </a:fld>
            <a:r>
              <a:rPr kumimoji="0" lang="ko-KR" altLang="en-US" sz="1000" b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kumimoji="0" lang="en-US" altLang="ko-KR" sz="1000" b="0">
                <a:solidFill>
                  <a:prstClr val="black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/ 2</a:t>
            </a:r>
            <a:endParaRPr kumimoji="0" lang="ko-KR" altLang="en-US" sz="1000" b="0">
              <a:solidFill>
                <a:prstClr val="black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9" name="Text Box 168"/>
          <p:cNvSpPr txBox="1">
            <a:spLocks noChangeArrowheads="1"/>
          </p:cNvSpPr>
          <p:nvPr userDrawn="1"/>
        </p:nvSpPr>
        <p:spPr bwMode="auto">
          <a:xfrm>
            <a:off x="5285999" y="116632"/>
            <a:ext cx="1620000" cy="288000"/>
          </a:xfrm>
          <a:prstGeom prst="rect">
            <a:avLst/>
          </a:prstGeom>
          <a:noFill/>
          <a:ln w="6350" cmpd="dbl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en-US" altLang="ko-KR" sz="1000" b="0" i="1">
                <a:solidFill>
                  <a:prstClr val="white">
                    <a:lumMod val="65000"/>
                  </a:prstClr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itchFamily="34" charset="0"/>
              </a:rPr>
              <a:t>LGE Internal Use Only</a:t>
            </a:r>
          </a:p>
        </p:txBody>
      </p:sp>
      <p:pic>
        <p:nvPicPr>
          <p:cNvPr id="10" name="Picture 3" descr="C:\Users\hyun\Desktop\비전로고_두줄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992544" y="6386473"/>
            <a:ext cx="1047946" cy="421758"/>
          </a:xfrm>
          <a:prstGeom prst="rect">
            <a:avLst/>
          </a:prstGeom>
          <a:noFill/>
        </p:spPr>
      </p:pic>
      <p:sp>
        <p:nvSpPr>
          <p:cNvPr id="8" name="텍스트 개체 틀 11"/>
          <p:cNvSpPr>
            <a:spLocks noGrp="1"/>
          </p:cNvSpPr>
          <p:nvPr>
            <p:ph type="body" idx="1"/>
          </p:nvPr>
        </p:nvSpPr>
        <p:spPr>
          <a:xfrm>
            <a:off x="272481" y="980728"/>
            <a:ext cx="9361040" cy="532859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marL="221853" marR="0" lvl="0" indent="-221853" algn="l" defTabSz="742950" rtl="0" eaLnBrk="1" fontAlgn="auto" latinLnBrk="1" hangingPunct="1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"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마스터 텍스트 스타일을 편집합니다</a:t>
            </a:r>
          </a:p>
          <a:p>
            <a:pPr marL="366316" marR="0" lvl="1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1138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둘째 수준</a:t>
            </a:r>
          </a:p>
          <a:p>
            <a:pPr marL="510778" marR="0" lvl="2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pPr>
            <a:r>
              <a:rPr kumimoji="0" lang="ko-KR" altLang="en-US" sz="97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셋째 수준</a:t>
            </a:r>
          </a:p>
          <a:p>
            <a:pPr marL="656531" marR="0" lvl="3" indent="-14575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894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넷째 수준</a:t>
            </a:r>
          </a:p>
          <a:p>
            <a:pPr marL="221853" marR="0" lvl="0" indent="-221853" algn="l" defTabSz="742950" rtl="0" eaLnBrk="1" fontAlgn="auto" latinLnBrk="1" hangingPunct="1">
              <a:lnSpc>
                <a:spcPct val="100000"/>
              </a:lnSpc>
              <a:spcBef>
                <a:spcPts val="975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"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마스터 텍스트 스타일을 편집합니다</a:t>
            </a:r>
          </a:p>
          <a:p>
            <a:pPr marL="366316" marR="0" lvl="1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ko-KR" altLang="en-US" sz="1138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둘째 수준</a:t>
            </a:r>
          </a:p>
          <a:p>
            <a:pPr marL="510778" marR="0" lvl="2" indent="-14446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-"/>
              <a:tabLst/>
              <a:defRPr/>
            </a:pPr>
            <a:r>
              <a:rPr kumimoji="0" lang="ko-KR" altLang="en-US" sz="975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셋째 수준</a:t>
            </a:r>
          </a:p>
          <a:p>
            <a:pPr marL="656531" marR="0" lvl="3" indent="-145753" algn="l" defTabSz="74295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894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pitchFamily="34" charset="0"/>
              </a:rPr>
              <a:t>넷째 수준</a:t>
            </a:r>
          </a:p>
        </p:txBody>
      </p:sp>
    </p:spTree>
    <p:extLst>
      <p:ext uri="{BB962C8B-B14F-4D97-AF65-F5344CB8AC3E}">
        <p14:creationId xmlns:p14="http://schemas.microsoft.com/office/powerpoint/2010/main" val="852884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82" r:id="rId8"/>
  </p:sldLayoutIdLst>
  <p:hf hdr="0" ftr="0" dt="0"/>
  <p:txStyles>
    <p:titleStyle>
      <a:lvl1pPr algn="l" defTabSz="742987" rtl="0" eaLnBrk="1" latinLnBrk="1" hangingPunct="1">
        <a:spcBef>
          <a:spcPct val="0"/>
        </a:spcBef>
        <a:buNone/>
        <a:defRPr kumimoji="1" lang="ko-KR" altLang="en-US" sz="2000" b="1" kern="1200" dirty="0" smtClean="0">
          <a:solidFill>
            <a:schemeClr val="tx1"/>
          </a:solidFill>
          <a:latin typeface="Arial Narrow" panose="020B0606020202030204" pitchFamily="34" charset="0"/>
          <a:ea typeface="LG스마트체 Regular" panose="020B0600000101010101" pitchFamily="50" charset="-127"/>
          <a:cs typeface="Arial" pitchFamily="34" charset="0"/>
        </a:defRPr>
      </a:lvl1pPr>
    </p:titleStyle>
    <p:bodyStyle>
      <a:lvl1pPr marL="221865" marR="0" indent="-221865" algn="l" defTabSz="742987" rtl="0" eaLnBrk="1" fontAlgn="auto" latinLnBrk="1" hangingPunct="1">
        <a:lnSpc>
          <a:spcPct val="100000"/>
        </a:lnSpc>
        <a:spcBef>
          <a:spcPts val="975"/>
        </a:spcBef>
        <a:spcAft>
          <a:spcPts val="0"/>
        </a:spcAft>
        <a:buClrTx/>
        <a:buSzPct val="100000"/>
        <a:buFont typeface="Wingdings" pitchFamily="2" charset="2"/>
        <a:buChar char=""/>
        <a:tabLst/>
        <a:defRPr sz="1138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1pPr>
      <a:lvl2pPr marL="366334" marR="0" indent="-144469" algn="l" defTabSz="742987" rtl="0" eaLnBrk="1" fontAlgn="auto" latinLnBrk="1" hangingPunct="1">
        <a:lnSpc>
          <a:spcPct val="100000"/>
        </a:lnSpc>
        <a:spcBef>
          <a:spcPct val="20000"/>
        </a:spcBef>
        <a:spcAft>
          <a:spcPts val="0"/>
        </a:spcAft>
        <a:buClrTx/>
        <a:buSzPct val="100000"/>
        <a:buFont typeface="Wingdings" pitchFamily="2" charset="2"/>
        <a:buChar char="§"/>
        <a:tabLst/>
        <a:defRPr sz="975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2pPr>
      <a:lvl3pPr marL="510803" marR="0" indent="-144469" algn="l" defTabSz="742987" rtl="0" eaLnBrk="1" fontAlgn="auto" latinLnBrk="1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Char char="-"/>
        <a:tabLst/>
        <a:defRPr sz="894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3pPr>
      <a:lvl4pPr marL="656563" marR="0" indent="-145761" algn="l" defTabSz="742987" rtl="0" eaLnBrk="1" fontAlgn="auto" latinLnBrk="1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Char char="•"/>
        <a:tabLst/>
        <a:defRPr sz="853" kern="1200">
          <a:solidFill>
            <a:schemeClr val="tx1"/>
          </a:solidFill>
          <a:latin typeface="+mj-lt"/>
          <a:ea typeface="LG스마트체 Regular" panose="020B0600000101010101" pitchFamily="50" charset="-127"/>
          <a:cs typeface="+mn-cs"/>
        </a:defRPr>
      </a:lvl4pPr>
      <a:lvl5pPr marL="1671722" indent="-185747" algn="l" defTabSz="742987" rtl="0" eaLnBrk="1" latinLnBrk="1" hangingPunct="1">
        <a:spcBef>
          <a:spcPct val="20000"/>
        </a:spcBef>
        <a:buFont typeface="Arial" pitchFamily="34" charset="0"/>
        <a:buChar char="»"/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3215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14709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786202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157695" indent="-185747" algn="l" defTabSz="742987" rtl="0" eaLnBrk="1" latinLnBrk="1" hangingPunct="1">
        <a:spcBef>
          <a:spcPct val="20000"/>
        </a:spcBef>
        <a:buFont typeface="Arial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95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87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80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75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468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1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455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948" algn="l" defTabSz="742987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FD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9DB9C2E8-956E-B67F-0D3B-F273C06D0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81A3F26-257A-22BD-1CCD-1280F9CC71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72CEF2E-8711-1D87-90D1-3B48975368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062604C-8EAD-4006-A800-F21047AD1BE8}" type="datetimeFigureOut">
              <a:rPr kumimoji="0" lang="ko-KR" altLang="en-US" b="0" smtClean="0">
                <a:solidFill>
                  <a:prstClr val="black">
                    <a:tint val="75000"/>
                  </a:prstClr>
                </a:solidFill>
                <a:latin typeface="맑은 고딕" panose="020F0502020204030204"/>
                <a:ea typeface="맑은 고딕" panose="020B0503020000020004" pitchFamily="50" charset="-127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4-17</a:t>
            </a:fld>
            <a:endParaRPr kumimoji="0" lang="ko-KR" altLang="en-US" b="0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 panose="020B0503020000020004" pitchFamily="50" charset="-127"/>
            </a:endParaRPr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388EE93-87A3-22C9-4285-18C8420A4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b="0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 panose="020B0503020000020004" pitchFamily="50" charset="-127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BD56E68-9C33-E0E0-1797-1824B4DEC2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AA46E0F-309B-4E1D-9F39-14B9DAA6499E}" type="slidenum">
              <a:rPr kumimoji="0" lang="ko-KR" altLang="en-US" b="0" smtClean="0">
                <a:solidFill>
                  <a:prstClr val="black">
                    <a:tint val="75000"/>
                  </a:prstClr>
                </a:solidFill>
                <a:latin typeface="맑은 고딕" panose="020F0502020204030204"/>
                <a:ea typeface="맑은 고딕" panose="020B0503020000020004" pitchFamily="50" charset="-127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b="0">
              <a:solidFill>
                <a:prstClr val="black">
                  <a:tint val="75000"/>
                </a:prstClr>
              </a:solidFill>
              <a:latin typeface="맑은 고딕" panose="020F0502020204030204"/>
              <a:ea typeface="맑은 고딕" panose="020B0503020000020004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9ED5165D-AD36-A674-9DD4-08496F98D4E2}"/>
              </a:ext>
            </a:extLst>
          </p:cNvPr>
          <p:cNvSpPr/>
          <p:nvPr userDrawn="1"/>
        </p:nvSpPr>
        <p:spPr>
          <a:xfrm>
            <a:off x="334963" y="844062"/>
            <a:ext cx="11522075" cy="5645638"/>
          </a:xfrm>
          <a:prstGeom prst="rect">
            <a:avLst/>
          </a:prstGeom>
          <a:solidFill>
            <a:schemeClr val="bg1"/>
          </a:solidFill>
          <a:ln w="25400">
            <a:solidFill>
              <a:srgbClr val="43351D"/>
            </a:solidFill>
          </a:ln>
          <a:effectLst>
            <a:outerShdw blurRad="203200" dist="38100" dir="5400000" algn="t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400" b="0">
              <a:solidFill>
                <a:prstClr val="white"/>
              </a:solidFill>
            </a:endParaRPr>
          </a:p>
        </p:txBody>
      </p:sp>
      <p:pic>
        <p:nvPicPr>
          <p:cNvPr id="8" name="그래픽 7">
            <a:extLst>
              <a:ext uri="{FF2B5EF4-FFF2-40B4-BE49-F238E27FC236}">
                <a16:creationId xmlns:a16="http://schemas.microsoft.com/office/drawing/2014/main" id="{870E133F-A9B7-D30C-804E-9953CC50A0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 t="60195"/>
          <a:stretch/>
        </p:blipFill>
        <p:spPr>
          <a:xfrm>
            <a:off x="9789525" y="508977"/>
            <a:ext cx="2067513" cy="213047"/>
          </a:xfrm>
          <a:prstGeom prst="rect">
            <a:avLst/>
          </a:prstGeom>
        </p:spPr>
      </p:pic>
      <p:pic>
        <p:nvPicPr>
          <p:cNvPr id="9" name="그래픽 8">
            <a:extLst>
              <a:ext uri="{FF2B5EF4-FFF2-40B4-BE49-F238E27FC236}">
                <a16:creationId xmlns:a16="http://schemas.microsoft.com/office/drawing/2014/main" id="{200F3235-4B93-9EB7-BB5C-2FB9969888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 r="24398" b="42212"/>
          <a:stretch/>
        </p:blipFill>
        <p:spPr>
          <a:xfrm>
            <a:off x="10366530" y="198038"/>
            <a:ext cx="1563078" cy="309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62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>
          <a:xfrm>
            <a:off x="8610601" y="635636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CA5473-605B-4F12-9061-0D3843BF4300}" type="slidenum">
              <a:rPr lang="ko-KR" altLang="en-US" b="0" smtClean="0">
                <a:solidFill>
                  <a:srgbClr val="000000">
                    <a:tint val="75000"/>
                  </a:srgbClr>
                </a:solidFill>
                <a:latin typeface="굴림" pitchFamily="50" charset="-127"/>
                <a:ea typeface="굴림" pitchFamily="50" charset="-127"/>
              </a:rPr>
              <a:pPr/>
              <a:t>‹#›</a:t>
            </a:fld>
            <a:endParaRPr lang="ko-KR" altLang="en-US" b="0" dirty="0">
              <a:solidFill>
                <a:srgbClr val="000000">
                  <a:tint val="75000"/>
                </a:srgbClr>
              </a:solidFill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30031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</p:sldLayoutIdLst>
  <p:hf hdr="0" ftr="0" dt="0"/>
  <p:txStyles>
    <p:titleStyle>
      <a:lvl1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71476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742950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114425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485901" algn="ctr" rtl="0" eaLnBrk="1" fontAlgn="base" latinLnBrk="1" hangingPunct="1">
        <a:spcBef>
          <a:spcPct val="0"/>
        </a:spcBef>
        <a:spcAft>
          <a:spcPct val="0"/>
        </a:spcAft>
        <a:defRPr kumimoji="1" sz="3576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278605" indent="-278605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603649" indent="-232172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2275">
          <a:solidFill>
            <a:schemeClr val="tx1"/>
          </a:solidFill>
          <a:latin typeface="+mn-lt"/>
          <a:ea typeface="+mn-ea"/>
        </a:defRPr>
      </a:lvl2pPr>
      <a:lvl3pPr marL="928686" indent="-185738" algn="l" rtl="0" eaLnBrk="1" fontAlgn="base" latinLnBrk="1" hangingPunct="1">
        <a:spcBef>
          <a:spcPct val="20000"/>
        </a:spcBef>
        <a:spcAft>
          <a:spcPct val="0"/>
        </a:spcAft>
        <a:buChar char="•"/>
        <a:defRPr kumimoji="1" sz="1950">
          <a:solidFill>
            <a:schemeClr val="tx1"/>
          </a:solidFill>
          <a:latin typeface="+mn-lt"/>
          <a:ea typeface="+mn-ea"/>
        </a:defRPr>
      </a:lvl3pPr>
      <a:lvl4pPr marL="1300163" indent="-185738" algn="l" rtl="0" eaLnBrk="1" fontAlgn="base" latinLnBrk="1" hangingPunct="1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+mn-ea"/>
        </a:defRPr>
      </a:lvl4pPr>
      <a:lvl5pPr marL="1671638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5pPr>
      <a:lvl6pPr marL="2043113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14588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86063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7538" indent="-185738" algn="l" rtl="0" eaLnBrk="1" fontAlgn="base" latinLnBrk="1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6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1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2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799" algn="l" defTabSz="742950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012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8" r:id="rId2"/>
  </p:sldLayoutIdLst>
  <p:hf hdr="0" dt="0"/>
  <p:txStyles>
    <p:titleStyle>
      <a:lvl1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82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6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4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25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25" indent="-339725" algn="l" defTabSz="122237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0988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25" indent="-225425" algn="l" defTabSz="122237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25" indent="-227013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38" indent="-223838" algn="l" defTabSz="122237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46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28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09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690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82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6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4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25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06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487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568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649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692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</p:sldLayoutIdLst>
  <p:hf hdr="0" dt="0"/>
  <p:txStyles>
    <p:titleStyle>
      <a:lvl1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128374" rtl="0" eaLnBrk="0" fontAlgn="base" latinLnBrk="1" hangingPunct="0">
        <a:spcBef>
          <a:spcPct val="0"/>
        </a:spcBef>
        <a:spcAft>
          <a:spcPct val="0"/>
        </a:spcAft>
        <a:defRPr kumimoji="1" sz="1846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15776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31551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947325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263101" algn="l" rtl="0" fontAlgn="base" latinLnBrk="1">
        <a:spcBef>
          <a:spcPct val="0"/>
        </a:spcBef>
        <a:spcAft>
          <a:spcPct val="0"/>
        </a:spcAft>
        <a:defRPr kumimoji="1" sz="1385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13600" indent="-313600" algn="l" defTabSz="1128374" rtl="0" eaLnBrk="0" fontAlgn="base" latinLnBrk="1" hangingPunct="0">
        <a:spcBef>
          <a:spcPct val="20000"/>
        </a:spcBef>
        <a:spcAft>
          <a:spcPct val="0"/>
        </a:spcAft>
        <a:defRPr kumimoji="1" sz="1477">
          <a:solidFill>
            <a:schemeClr val="tx1"/>
          </a:solidFill>
          <a:latin typeface="+mn-lt"/>
          <a:ea typeface="+mn-ea"/>
          <a:cs typeface="+mn-cs"/>
        </a:defRPr>
      </a:lvl1pPr>
      <a:lvl2pPr marL="682886" indent="-259380" algn="l" defTabSz="112837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77">
          <a:solidFill>
            <a:schemeClr val="tx1"/>
          </a:solidFill>
          <a:latin typeface="+mn-lt"/>
          <a:ea typeface="+mn-ea"/>
        </a:defRPr>
      </a:lvl2pPr>
      <a:lvl3pPr marL="1052172" indent="-208090" algn="l" defTabSz="1128374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77">
          <a:solidFill>
            <a:schemeClr val="tx1"/>
          </a:solidFill>
          <a:latin typeface="+mn-lt"/>
          <a:ea typeface="+mn-ea"/>
        </a:defRPr>
      </a:lvl3pPr>
      <a:lvl4pPr marL="1474214" indent="-209556" algn="l" defTabSz="1128374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77">
          <a:solidFill>
            <a:schemeClr val="tx1"/>
          </a:solidFill>
          <a:latin typeface="+mn-lt"/>
          <a:ea typeface="+mn-ea"/>
        </a:defRPr>
      </a:lvl4pPr>
      <a:lvl5pPr marL="1894790" indent="-206625" algn="l" defTabSz="1128374" rtl="0" eaLnBrk="0" fontAlgn="base" latinLnBrk="1" hangingPunct="0">
        <a:spcBef>
          <a:spcPct val="20000"/>
        </a:spcBef>
        <a:spcAft>
          <a:spcPct val="0"/>
        </a:spcAft>
        <a:buChar char="»"/>
        <a:defRPr kumimoji="1" sz="1477">
          <a:solidFill>
            <a:schemeClr val="tx1"/>
          </a:solidFill>
          <a:latin typeface="+mn-lt"/>
          <a:ea typeface="+mn-ea"/>
        </a:defRPr>
      </a:lvl5pPr>
      <a:lvl6pPr marL="1736763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6pPr>
      <a:lvl7pPr marL="2052539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7pPr>
      <a:lvl8pPr marL="2368314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8pPr>
      <a:lvl9pPr marL="2684089" indent="-157887" algn="l" rtl="0" fontAlgn="base" latinLnBrk="1">
        <a:spcBef>
          <a:spcPct val="20000"/>
        </a:spcBef>
        <a:spcAft>
          <a:spcPct val="0"/>
        </a:spcAft>
        <a:buChar char="»"/>
        <a:defRPr kumimoji="1" sz="1108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15776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3155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47325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6310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78876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9465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10426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26201" algn="l" defTabSz="631551" rtl="0" eaLnBrk="1" latinLnBrk="1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5176502" y="125610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 dirty="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 dirty="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59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</p:sldLayoutIdLst>
  <p:hf hdr="0" dt="0"/>
  <p:txStyles>
    <p:titleStyle>
      <a:lvl1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37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82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6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43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25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25" indent="-339725" algn="l" defTabSz="122237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0988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25" indent="-225425" algn="l" defTabSz="122237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25" indent="-227013" algn="l" defTabSz="122237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38" indent="-223838" algn="l" defTabSz="122237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46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28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09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690" indent="-171040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82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6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43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25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06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487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568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649" algn="l" defTabSz="684163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5176503" y="125612"/>
            <a:ext cx="1811643" cy="27696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05" tIns="45703" rIns="91405" bIns="45703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altLang="ko-KR" sz="1200">
                <a:solidFill>
                  <a:srgbClr val="FFFF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GE Internal Use Only</a:t>
            </a:r>
            <a:endParaRPr lang="ko-KR" altLang="en-US" sz="1200">
              <a:solidFill>
                <a:srgbClr val="FFFF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Line 39"/>
          <p:cNvSpPr>
            <a:spLocks noChangeShapeType="1"/>
          </p:cNvSpPr>
          <p:nvPr userDrawn="1"/>
        </p:nvSpPr>
        <p:spPr bwMode="auto">
          <a:xfrm>
            <a:off x="0" y="548680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 sz="2000"/>
          </a:p>
        </p:txBody>
      </p:sp>
    </p:spTree>
    <p:extLst>
      <p:ext uri="{BB962C8B-B14F-4D97-AF65-F5344CB8AC3E}">
        <p14:creationId xmlns:p14="http://schemas.microsoft.com/office/powerpoint/2010/main" val="1582595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</p:sldLayoutIdLst>
  <p:hf hdr="0" dt="0"/>
  <p:txStyles>
    <p:titleStyle>
      <a:lvl1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91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80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6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5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34" indent="-339734" algn="l" defTabSz="122240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93" indent="-280995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54" indent="-225431" algn="l" defTabSz="122240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65" indent="-227019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89" indent="-223844" algn="l" defTabSz="122240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9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8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74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76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91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8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6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5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4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53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62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71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113307" y="134810"/>
            <a:ext cx="1957570" cy="285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300" b="0">
                <a:solidFill>
                  <a:srgbClr val="000000">
                    <a:lumMod val="65000"/>
                    <a:lumOff val="35000"/>
                  </a:srgbClr>
                </a:solidFill>
                <a:latin typeface="Arial Narrow" pitchFamily="34" charset="0"/>
              </a:rPr>
              <a:t>LGE Internal Use Only</a:t>
            </a:r>
            <a:endParaRPr kumimoji="0" lang="ko-KR" altLang="en-US" sz="1300" b="0">
              <a:solidFill>
                <a:srgbClr val="000000">
                  <a:lumMod val="65000"/>
                  <a:lumOff val="35000"/>
                </a:srgb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799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6559" indent="-336559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38207" indent="-27940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36679" indent="-223844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2303" indent="-22225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49514" indent="-223844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06726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63937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1148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78360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9"/>
          <p:cNvSpPr>
            <a:spLocks noChangeShapeType="1"/>
          </p:cNvSpPr>
          <p:nvPr userDrawn="1"/>
        </p:nvSpPr>
        <p:spPr bwMode="auto">
          <a:xfrm>
            <a:off x="0" y="587375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205042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38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9"/>
          <p:cNvSpPr>
            <a:spLocks noChangeShapeType="1"/>
          </p:cNvSpPr>
          <p:nvPr userDrawn="1"/>
        </p:nvSpPr>
        <p:spPr bwMode="auto">
          <a:xfrm>
            <a:off x="0" y="587375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205042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067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39"/>
          <p:cNvSpPr>
            <a:spLocks noChangeShapeType="1"/>
          </p:cNvSpPr>
          <p:nvPr userDrawn="1"/>
        </p:nvSpPr>
        <p:spPr bwMode="auto">
          <a:xfrm>
            <a:off x="0" y="587375"/>
            <a:ext cx="121920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91369" tIns="45687" rIns="91369" bIns="45687"/>
          <a:lstStyle/>
          <a:p>
            <a:pPr>
              <a:defRPr/>
            </a:pPr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205042" y="180980"/>
            <a:ext cx="1447810" cy="27698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lIns="91429" tIns="45714" rIns="91429" bIns="45714">
            <a:spAutoFit/>
          </a:bodyPr>
          <a:lstStyle/>
          <a:p>
            <a:pPr>
              <a:defRPr/>
            </a:pPr>
            <a:r>
              <a:rPr lang="en-US" altLang="ko-KR" sz="1200" b="0">
                <a:solidFill>
                  <a:prstClr val="white">
                    <a:lumMod val="75000"/>
                  </a:prstClr>
                </a:solidFill>
                <a:latin typeface="Arial Narrow" pitchFamily="34" charset="0"/>
                <a:cs typeface="Arial" pitchFamily="34" charset="0"/>
              </a:rPr>
              <a:t>LGE Internal Use Only</a:t>
            </a:r>
            <a:endParaRPr lang="ko-KR" altLang="en-US" sz="1200" b="0">
              <a:solidFill>
                <a:prstClr val="white">
                  <a:lumMod val="75000"/>
                </a:prstClr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660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8" indent="-34290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4"/>
          <p:cNvSpPr>
            <a:spLocks noChangeShapeType="1"/>
          </p:cNvSpPr>
          <p:nvPr/>
        </p:nvSpPr>
        <p:spPr bwMode="auto">
          <a:xfrm>
            <a:off x="0" y="534987"/>
            <a:ext cx="12192000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4" rIns="91429" bIns="45714"/>
          <a:lstStyle/>
          <a:p>
            <a:pPr defTabSz="914313"/>
            <a:endParaRPr lang="ko-KR" altLang="en-US" sz="130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5113307" y="134810"/>
            <a:ext cx="1957570" cy="28556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300" b="0">
                <a:solidFill>
                  <a:srgbClr val="000000">
                    <a:lumMod val="65000"/>
                    <a:lumOff val="35000"/>
                  </a:srgbClr>
                </a:solidFill>
                <a:latin typeface="Arial Narrow" pitchFamily="34" charset="0"/>
              </a:rPr>
              <a:t>LGE Internal Use Only</a:t>
            </a:r>
            <a:endParaRPr kumimoji="0" lang="ko-KR" altLang="en-US" sz="1300" b="0">
              <a:solidFill>
                <a:srgbClr val="000000">
                  <a:lumMod val="65000"/>
                  <a:lumOff val="35000"/>
                </a:srgb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64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12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23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34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46" algn="ctr" rtl="0" fontAlgn="base" latinLnBrk="1">
        <a:spcBef>
          <a:spcPct val="0"/>
        </a:spcBef>
        <a:spcAft>
          <a:spcPct val="0"/>
        </a:spcAft>
        <a:defRPr kumimoji="1" sz="440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6559" indent="-336559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38207" indent="-279407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36679" indent="-223844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2303" indent="-22225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49514" indent="-223844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06726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63937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1148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78360" indent="-223844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046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</p:sldLayoutIdLst>
  <p:hf hdr="0" dt="0"/>
  <p:txStyles>
    <p:titleStyle>
      <a:lvl1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l" defTabSz="1222405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342091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684180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02626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368359" algn="l" rtl="0" fontAlgn="base" latinLnBrk="1">
        <a:spcBef>
          <a:spcPct val="0"/>
        </a:spcBef>
        <a:spcAft>
          <a:spcPct val="0"/>
        </a:spcAft>
        <a:defRPr kumimoji="1" sz="1500" b="1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39734" indent="-339734" algn="l" defTabSz="1222405" rtl="0" eaLnBrk="0" fontAlgn="base" latinLnBrk="1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+mn-lt"/>
          <a:ea typeface="+mn-ea"/>
          <a:cs typeface="+mn-cs"/>
        </a:defRPr>
      </a:lvl1pPr>
      <a:lvl2pPr marL="739793" indent="-280995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2pPr>
      <a:lvl3pPr marL="1139854" indent="-225431" algn="l" defTabSz="1222405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+mn-ea"/>
        </a:defRPr>
      </a:lvl3pPr>
      <a:lvl4pPr marL="1597065" indent="-227019" algn="l" defTabSz="1222405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600">
          <a:solidFill>
            <a:schemeClr val="tx1"/>
          </a:solidFill>
          <a:latin typeface="+mn-lt"/>
          <a:ea typeface="+mn-ea"/>
        </a:defRPr>
      </a:lvl4pPr>
      <a:lvl5pPr marL="2052689" indent="-223844" algn="l" defTabSz="1222405" rtl="0" eaLnBrk="0" fontAlgn="base" latinLnBrk="1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</a:defRPr>
      </a:lvl5pPr>
      <a:lvl6pPr marL="188149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6pPr>
      <a:lvl7pPr marL="222358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7pPr>
      <a:lvl8pPr marL="2565674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8pPr>
      <a:lvl9pPr marL="2907763" indent="-171044" algn="l" rtl="0" fontAlgn="base" latinLnBrk="1">
        <a:spcBef>
          <a:spcPct val="20000"/>
        </a:spcBef>
        <a:spcAft>
          <a:spcPct val="0"/>
        </a:spcAft>
        <a:buChar char="»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91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80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6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5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49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53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62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718" algn="l" defTabSz="684180" rtl="0" eaLnBrk="1" latinLnBrk="1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37.xml"/><Relationship Id="rId2" Type="http://schemas.openxmlformats.org/officeDocument/2006/relationships/slide" Target="slide3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9.xml"/><Relationship Id="rId2" Type="http://schemas.openxmlformats.org/officeDocument/2006/relationships/slide" Target="slide3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" Target="slide41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" Target="slide10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" Target="slide12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" Target="slide12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" Target="slide34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5470042" y="5307385"/>
            <a:ext cx="125194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2023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년 </a:t>
            </a:r>
            <a:r>
              <a:rPr lang="en-US" altLang="ko-KR" sz="14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lang="ko-KR" altLang="en-US" sz="14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월 </a:t>
            </a:r>
            <a:r>
              <a:rPr lang="en-US" altLang="ko-KR" sz="14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18</a:t>
            </a:r>
            <a:r>
              <a:rPr lang="ko-KR" altLang="en-US" sz="14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일</a:t>
            </a:r>
            <a:endParaRPr lang="ko-KR" altLang="en-US" sz="1400" dirty="0">
              <a:solidFill>
                <a:srgbClr val="00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3208632" y="5696327"/>
            <a:ext cx="577478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30188" indent="-230188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kumimoji="1" sz="1200" b="1">
                <a:solidFill>
                  <a:schemeClr val="tx1"/>
                </a:solidFill>
                <a:latin typeface="Arial" charset="0"/>
                <a:ea typeface="Dotum" pitchFamily="50" charset="-127"/>
                <a:sym typeface="Wingdings" pitchFamily="2" charset="2"/>
              </a:defRPr>
            </a:lvl9pPr>
          </a:lstStyle>
          <a:p>
            <a:pPr algn="ctr" eaLnBrk="1" hangingPunct="1"/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TO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부문 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</a:t>
            </a:r>
            <a:r>
              <a:rPr lang="en-US" altLang="ko-KR" sz="1400" dirty="0" err="1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W센터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/ SWP(</a:t>
            </a:r>
            <a:r>
              <a:rPr lang="ko-KR" altLang="en-US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</a:t>
            </a:r>
            <a:r>
              <a:rPr lang="en-US" altLang="ko-KR" sz="14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 </a:t>
            </a:r>
            <a:r>
              <a:rPr lang="en-US" altLang="ko-KR" sz="14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motive Platform Task / </a:t>
            </a:r>
            <a:r>
              <a:rPr lang="ko-KR" altLang="en-US" sz="1400" dirty="0" err="1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박창훈</a:t>
            </a:r>
            <a:r>
              <a:rPr lang="ko-KR" altLang="en-US" sz="14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책임연구원</a:t>
            </a:r>
            <a:endParaRPr lang="ko-KR" altLang="en-US" sz="1400" dirty="0">
              <a:solidFill>
                <a:srgbClr val="00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blackGray">
          <a:xfrm>
            <a:off x="3436974" y="1505108"/>
            <a:ext cx="53181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ko-KR" sz="24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Architecture for UCM Master</a:t>
            </a:r>
            <a:endParaRPr lang="ko-KR" altLang="en-US" sz="24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" name="Line 6"/>
          <p:cNvSpPr>
            <a:spLocks noChangeShapeType="1"/>
          </p:cNvSpPr>
          <p:nvPr/>
        </p:nvSpPr>
        <p:spPr bwMode="auto">
          <a:xfrm>
            <a:off x="2567608" y="2042242"/>
            <a:ext cx="7128792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algn="ctr" eaLnBrk="0" latinLnBrk="0" hangingPunct="0">
              <a:lnSpc>
                <a:spcPct val="150000"/>
              </a:lnSpc>
              <a:defRPr/>
            </a:pPr>
            <a:endParaRPr kumimoji="0" lang="ko-KR" altLang="en-US" sz="1300" b="0" kern="0">
              <a:solidFill>
                <a:srgbClr val="00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914" y="219709"/>
            <a:ext cx="1620968" cy="676043"/>
          </a:xfrm>
          <a:prstGeom prst="rect">
            <a:avLst/>
          </a:prstGeom>
        </p:spPr>
      </p:pic>
      <p:pic>
        <p:nvPicPr>
          <p:cNvPr id="7" name="Picture 11" descr="D:\조직문화\로고\LGE_CI_LOGO\누끼 컷\LGE_Logo_3D_Tagline(W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8528" y="6152545"/>
            <a:ext cx="1044905" cy="506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327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7755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straint</a:t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Business &amp; Technical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Constraint list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3. Architectural Drivers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980662"/>
              </p:ext>
            </p:extLst>
          </p:nvPr>
        </p:nvGraphicFramePr>
        <p:xfrm>
          <a:off x="695400" y="1232756"/>
          <a:ext cx="11017224" cy="4937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33670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ategory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C1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 Adaptive Platfor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이외의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고려하지 않는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2" action="ppaction://hlinksldjump"/>
                        </a:rPr>
                        <a:t>Appendix 1. </a:t>
                      </a:r>
                      <a:r>
                        <a:rPr lang="ko-KR" altLang="en-US" sz="120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2" action="ppaction://hlinksldjump"/>
                        </a:rPr>
                        <a:t>참고</a:t>
                      </a:r>
                      <a:endParaRPr lang="en-US" sz="1200" dirty="0">
                        <a:solidFill>
                          <a:srgbClr val="00B050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sines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C2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jec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설계 및 구현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~ 2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6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월까지 완료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ndor UC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연동 시험 일정 고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sines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C3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jec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투입 인원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이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  <a:p>
                      <a:pPr marL="171450" marR="0" indent="-17145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Architect 0.5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marR="0" indent="-17145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Developer 2.5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</a:t>
                      </a:r>
                    </a:p>
                    <a:p>
                      <a:pPr marL="171450" marR="0" indent="-17145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ster 2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명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3" action="ppaction://hlinksldjump"/>
                        </a:rPr>
                        <a:t>Appendix 3. </a:t>
                      </a:r>
                      <a:r>
                        <a:rPr lang="ko-KR" altLang="en-US" sz="120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hlinkClick r:id="rId3" action="ppaction://hlinksldjump"/>
                        </a:rPr>
                        <a:t>참고</a:t>
                      </a:r>
                      <a:endParaRPr lang="en-US" sz="1200" dirty="0" smtClean="0">
                        <a:solidFill>
                          <a:srgbClr val="00B050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sines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7735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1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 Adaptiv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개발 언어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++14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반으로 개발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48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2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build syste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규격에 따라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Yocto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v3.1 (Code name: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unfell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S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본부 표준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ild syste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규격에 따라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Make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v3.5</a:t>
                      </a:r>
                    </a:p>
                    <a:p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환경에서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uild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될 수 있도록 개발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85769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3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ransport Protocol LG SOME/IP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최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65KB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ayload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한 번에 전송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33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4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현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23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년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월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ndo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서 구현 중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CU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ME/IP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TLS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지원하지 않는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60746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5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내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CU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간 데이터 전송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tocol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은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ME/IP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327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6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능 사용 시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구현되어 있는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rypto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22671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7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tor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저장 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구현되어 있는 </a:t>
                      </a:r>
                      <a:r>
                        <a:rPr lang="en-US" altLang="ko-KR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p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06433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C8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og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사용 시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 Platform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구현되어 있는 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::log </a:t>
                      </a:r>
                      <a:r>
                        <a:rPr lang="ko-KR" altLang="en-US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사용한다</a:t>
                      </a:r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echnical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927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2474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4050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High-level Functional Requirement</a:t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Related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Document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AUTOSAR Requirement :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_RS_UpdateAndConfigurationManagement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R22-11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* Toyota Requirement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otasu40-masterreq-rd000-002-a v4.0 (OTA 4.0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olksWagen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Requirement : UDS-Compliant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Programming (Q-LAH 80126 LAH.DUM.906.A v2.7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3. Architectural Drivers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375519"/>
              </p:ext>
            </p:extLst>
          </p:nvPr>
        </p:nvGraphicFramePr>
        <p:xfrm>
          <a:off x="695400" y="1052736"/>
          <a:ext cx="11017224" cy="36576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33670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urce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1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설치된 모든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보를 수집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2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모든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Upd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록을 수집해야 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3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분산시켜야 하고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정을 주관하여 진행해야 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7735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4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Mast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다른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Functional Clust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와 통신 시 </a:t>
                      </a:r>
                      <a:r>
                        <a:rPr lang="en-US" altLang="ko-KR" sz="1200" baseline="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om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사용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 Adaptive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olksWage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48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5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정 전체에 걸쳐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afety Conditio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확인해야 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주차 상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배터리 상태 등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85769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6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운전자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할 수 있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fac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제공하고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필요 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Software Upd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진행에 대한 동의를 구해야 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33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7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t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알려줄 수 있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fac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구성해야 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olksWagen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60746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8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정을 진행하기 위해 필요한 모든 정보를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Package MANIFEST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통해 확인하고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pdat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순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Dependency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등을 고려하여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체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계획을 수립하여야 한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, Toyota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327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9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부팅 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itialize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과정을 모두 완료하고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t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타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Functional Clust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알린다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OSA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Adaptive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2267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0484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7613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</a:t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</a:t>
            </a: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ndard,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Manufacturer Requirem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품질 속성 관련 사항 도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Priorit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usines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요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Technica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요도에 따라 점수 부여 후 결정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낮은 번호가 높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orit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가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</a:t>
            </a:r>
            <a:r>
              <a:rPr lang="en-US" altLang="ko-KR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sym typeface="Wingdings" panose="05000000000000000000" pitchFamily="2" charset="2"/>
                <a:hlinkClick r:id="rId2" action="ppaction://hlinksldjump"/>
              </a:rPr>
              <a:t>Appendix 4. </a:t>
            </a:r>
            <a:r>
              <a:rPr lang="ko-KR" altLang="en-US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sym typeface="Wingdings" panose="05000000000000000000" pitchFamily="2" charset="2"/>
                <a:hlinkClick r:id="rId2" action="ppaction://hlinksldjump"/>
              </a:rPr>
              <a:t>참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 Scenario</a:t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정량적 지표 설정은 기존 진행한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측정값을 참고하여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keholder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하나인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Manufacturer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협의 하에 결정함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(e.g. Vehicle 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세부 시나리오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hlinkClick r:id="rId3" action="ppaction://hlinksldjump"/>
              </a:rPr>
              <a:t>Appendix 5 &amp; 6.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  <a:hlinkClick r:id="rId3" action="ppaction://hlinksldjump"/>
              </a:rPr>
              <a:t>참고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3. Architectural Drivers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860397"/>
              </p:ext>
            </p:extLst>
          </p:nvPr>
        </p:nvGraphicFramePr>
        <p:xfrm>
          <a:off x="695400" y="1520788"/>
          <a:ext cx="11017224" cy="2560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51672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1458162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  <a:gridCol w="819091">
                  <a:extLst>
                    <a:ext uri="{9D8B030D-6E8A-4147-A177-3AD203B41FA5}">
                      <a16:colId xmlns:a16="http://schemas.microsoft.com/office/drawing/2014/main" val="1474848662"/>
                    </a:ext>
                  </a:extLst>
                </a:gridCol>
                <a:gridCol w="819091">
                  <a:extLst>
                    <a:ext uri="{9D8B030D-6E8A-4147-A177-3AD203B41FA5}">
                      <a16:colId xmlns:a16="http://schemas.microsoft.com/office/drawing/2014/main" val="12983048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ttribute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iority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Key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QA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ackend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부터 수신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Pack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및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무결성을 보장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ecurity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1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2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악의적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ttack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정보 유출 시도 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Driver, Vehicle Identity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포함하는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onfidential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보가 노출되지 않도록 하기 위하여 해당 정보는 전송 시 보호되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ecurity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소요 시간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size 1M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당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를 넘지 않아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formance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7735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4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진행 중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점유율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초과할 수 없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formance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6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00487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함으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중지되어서는 안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vailability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85769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6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전원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ff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더라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원이 다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재개되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vailabil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33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이 새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stall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된 경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compi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없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할 수 있고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새로운 버전으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업데이트 시킬 수 있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xtensibility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607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321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4003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solidFill>
                <a:schemeClr val="tx1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Communication Channe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VS Confidential 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2109797"/>
            <a:ext cx="8784976" cy="4727471"/>
          </a:xfrm>
          <a:prstGeom prst="rect">
            <a:avLst/>
          </a:prstGeom>
        </p:spPr>
      </p:pic>
      <p:graphicFrame>
        <p:nvGraphicFramePr>
          <p:cNvPr id="37" name="표 36"/>
          <p:cNvGraphicFramePr>
            <a:graphicFrameLocks noGrp="1"/>
          </p:cNvGraphicFramePr>
          <p:nvPr/>
        </p:nvGraphicFramePr>
        <p:xfrm>
          <a:off x="695400" y="982721"/>
          <a:ext cx="8784976" cy="457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1957302077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0875977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2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악의적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ttack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정보 유출 시도 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Driver, Vehicle Identity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포함하는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onfidential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보가 노출되지 않도록 하기 위하여 해당 정보는 전송 시 보호되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399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6441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4929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TL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하여 전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 처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952" y="1052736"/>
            <a:ext cx="4922337" cy="3104962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40" y="1052736"/>
            <a:ext cx="4922337" cy="2903777"/>
          </a:xfrm>
          <a:prstGeom prst="rect">
            <a:avLst/>
          </a:prstGeom>
        </p:spPr>
      </p:pic>
      <p:sp>
        <p:nvSpPr>
          <p:cNvPr id="124" name="텍스트 개체 틀 3"/>
          <p:cNvSpPr txBox="1">
            <a:spLocks/>
          </p:cNvSpPr>
          <p:nvPr/>
        </p:nvSpPr>
        <p:spPr>
          <a:xfrm>
            <a:off x="6148085" y="672117"/>
            <a:ext cx="5709600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Confidential 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한해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/ Decryp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125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2564" y="672117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텍스트 개체 틀 3"/>
          <p:cNvSpPr txBox="1">
            <a:spLocks/>
          </p:cNvSpPr>
          <p:nvPr/>
        </p:nvSpPr>
        <p:spPr>
          <a:xfrm>
            <a:off x="6456040" y="4445496"/>
            <a:ext cx="5440586" cy="2283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fidential 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한해서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a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:crypto lib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이용하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/ decryp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비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에 영향을 주지 않음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fidential 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리스트를 관리해야 하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송신 시 직접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수행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신 시 직접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cryp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수행해야 함</a:t>
            </a:r>
            <a:endParaRPr lang="en-US" altLang="ko-KR" sz="1400" dirty="0" smtClean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27" name="텍스트 개체 틀 3"/>
          <p:cNvSpPr txBox="1">
            <a:spLocks/>
          </p:cNvSpPr>
          <p:nvPr/>
        </p:nvSpPr>
        <p:spPr>
          <a:xfrm>
            <a:off x="714952" y="4445496"/>
            <a:ext cx="5440586" cy="2283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hanne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적용함으로써 전송되는 모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하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보안 적용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을 위한 개발 리소스 불필요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fidential 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아님에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ure Channe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사용함에 따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시간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크게 증가시키는 원인이 됨</a:t>
            </a:r>
            <a:endParaRPr lang="en-US" altLang="ko-KR" sz="1400" dirty="0" smtClean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682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60539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solidFill>
                <a:schemeClr val="tx1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Package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무결성 확인을 위하여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이용한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HENTICATION Tag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을 비롯한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ackage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조 협의 완료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3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월 초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획득 방법에 대한 대안 비교 진행 중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37" name="표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1643347"/>
              </p:ext>
            </p:extLst>
          </p:nvPr>
        </p:nvGraphicFramePr>
        <p:xfrm>
          <a:off x="695400" y="982721"/>
          <a:ext cx="8784976" cy="274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1957302077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0875977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Backend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부터 수신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Pack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및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무결성을 보장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98099"/>
                  </a:ext>
                </a:extLst>
              </a:tr>
            </a:tbl>
          </a:graphicData>
        </a:graphic>
      </p:graphicFrame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839215"/>
            <a:ext cx="9217024" cy="4290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205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Static 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125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655441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텍스트 개체 틀 3"/>
          <p:cNvSpPr txBox="1">
            <a:spLocks/>
          </p:cNvSpPr>
          <p:nvPr/>
        </p:nvSpPr>
        <p:spPr>
          <a:xfrm>
            <a:off x="6193090" y="1052736"/>
            <a:ext cx="5591542" cy="38348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Binar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포함시켜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Binary Releas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inar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포함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ypto Daem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관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ncryption / Decryp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위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anagem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불필요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ypto Daem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ublic 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관리하므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유출 위험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거의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없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/ 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비롯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plic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Managem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불필요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vate 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변경 시 자동차 제조업체 공식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/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센터 방문 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새로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ublic 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추가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Binar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lashing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필요</a:t>
            </a:r>
            <a:endParaRPr lang="en-US" altLang="ko-KR" sz="1400" dirty="0" smtClean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739" y="1052736"/>
            <a:ext cx="5232373" cy="5046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5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Dynamic 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1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ecur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27" name="텍스트 개체 틀 3"/>
          <p:cNvSpPr txBox="1">
            <a:spLocks/>
          </p:cNvSpPr>
          <p:nvPr/>
        </p:nvSpPr>
        <p:spPr>
          <a:xfrm>
            <a:off x="6193090" y="1052736"/>
            <a:ext cx="5591542" cy="331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ud Serv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또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iagnostic Too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이용하여 획득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vate 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변경 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ud Serv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또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iagnostic Too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이용하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업데이트를 쉽게 할 수 있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TA Client / Diagnostic Applic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부터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전달받을 수 있는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I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ypto Daem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전달할 수 있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I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 개발 필요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간 노출의 위험의 있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75" y="1058362"/>
            <a:ext cx="6006670" cy="395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79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28"/>
          <p:cNvSpPr/>
          <p:nvPr/>
        </p:nvSpPr>
        <p:spPr>
          <a:xfrm>
            <a:off x="4602042" y="5028828"/>
            <a:ext cx="144000" cy="14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4602042" y="5172828"/>
            <a:ext cx="144000" cy="14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32" name="꺾인 연결선 31"/>
          <p:cNvCxnSpPr>
            <a:stCxn id="29" idx="3"/>
            <a:endCxn id="31" idx="3"/>
          </p:cNvCxnSpPr>
          <p:nvPr/>
        </p:nvCxnSpPr>
        <p:spPr>
          <a:xfrm>
            <a:off x="4746042" y="5100828"/>
            <a:ext cx="12700" cy="14400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4003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300MByte(s) Single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Software Package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단계별 소요 시간 측정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4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.2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Performan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742621" y="4270513"/>
            <a:ext cx="3998664" cy="288000"/>
          </a:xfrm>
          <a:prstGeom prst="rect">
            <a:avLst/>
          </a:prstGeom>
          <a:gradFill rotWithShape="1">
            <a:gsLst>
              <a:gs pos="0">
                <a:srgbClr val="ED7D31">
                  <a:lumMod val="110000"/>
                  <a:satMod val="105000"/>
                  <a:tint val="67000"/>
                </a:srgbClr>
              </a:gs>
              <a:gs pos="50000">
                <a:srgbClr val="ED7D31">
                  <a:lumMod val="105000"/>
                  <a:satMod val="103000"/>
                  <a:tint val="73000"/>
                </a:srgbClr>
              </a:gs>
              <a:gs pos="100000">
                <a:srgbClr val="ED7D31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kern="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UCM Master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47376" y="3512198"/>
            <a:ext cx="3993909" cy="288000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OTA Client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747375" y="2753883"/>
            <a:ext cx="3993911" cy="288000"/>
          </a:xfrm>
          <a:prstGeom prst="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Backend Server</a:t>
            </a:r>
          </a:p>
        </p:txBody>
      </p:sp>
      <p:cxnSp>
        <p:nvCxnSpPr>
          <p:cNvPr id="3" name="직선 화살표 연결선 2"/>
          <p:cNvCxnSpPr>
            <a:stCxn id="12" idx="2"/>
            <a:endCxn id="10" idx="0"/>
          </p:cNvCxnSpPr>
          <p:nvPr/>
        </p:nvCxnSpPr>
        <p:spPr>
          <a:xfrm>
            <a:off x="2744331" y="3041883"/>
            <a:ext cx="0" cy="470315"/>
          </a:xfrm>
          <a:prstGeom prst="straightConnector1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화살표 연결선 15"/>
          <p:cNvCxnSpPr>
            <a:stCxn id="10" idx="2"/>
            <a:endCxn id="9" idx="0"/>
          </p:cNvCxnSpPr>
          <p:nvPr/>
        </p:nvCxnSpPr>
        <p:spPr>
          <a:xfrm flipH="1">
            <a:off x="2741953" y="3800198"/>
            <a:ext cx="2378" cy="470315"/>
          </a:xfrm>
          <a:prstGeom prst="straightConnector1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>
            <a:stCxn id="9" idx="2"/>
            <a:endCxn id="63" idx="0"/>
          </p:cNvCxnSpPr>
          <p:nvPr/>
        </p:nvCxnSpPr>
        <p:spPr>
          <a:xfrm>
            <a:off x="2741953" y="4558513"/>
            <a:ext cx="2378" cy="470315"/>
          </a:xfrm>
          <a:prstGeom prst="straightConnector1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직사각형 36"/>
          <p:cNvSpPr/>
          <p:nvPr/>
        </p:nvSpPr>
        <p:spPr>
          <a:xfrm>
            <a:off x="5094539" y="2888883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5094539" y="3650011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5094539" y="5010828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48" name="직선 화살표 연결선 47"/>
          <p:cNvCxnSpPr>
            <a:stCxn id="37" idx="2"/>
            <a:endCxn id="44" idx="0"/>
          </p:cNvCxnSpPr>
          <p:nvPr/>
        </p:nvCxnSpPr>
        <p:spPr>
          <a:xfrm>
            <a:off x="5526539" y="2906883"/>
            <a:ext cx="0" cy="743128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>
            <a:stCxn id="44" idx="2"/>
            <a:endCxn id="45" idx="0"/>
          </p:cNvCxnSpPr>
          <p:nvPr/>
        </p:nvCxnSpPr>
        <p:spPr>
          <a:xfrm>
            <a:off x="5526539" y="3668011"/>
            <a:ext cx="0" cy="1342817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직사각형 53"/>
          <p:cNvSpPr/>
          <p:nvPr/>
        </p:nvSpPr>
        <p:spPr>
          <a:xfrm>
            <a:off x="5094539" y="5298828"/>
            <a:ext cx="864000" cy="18000"/>
          </a:xfrm>
          <a:prstGeom prst="rect">
            <a:avLst/>
          </a:prstGeom>
          <a:solidFill>
            <a:schemeClr val="tx1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55" name="직선 화살표 연결선 54"/>
          <p:cNvCxnSpPr>
            <a:stCxn id="45" idx="2"/>
            <a:endCxn id="54" idx="0"/>
          </p:cNvCxnSpPr>
          <p:nvPr/>
        </p:nvCxnSpPr>
        <p:spPr>
          <a:xfrm>
            <a:off x="5526539" y="5028828"/>
            <a:ext cx="0" cy="270000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직사각형 57"/>
          <p:cNvSpPr/>
          <p:nvPr/>
        </p:nvSpPr>
        <p:spPr>
          <a:xfrm>
            <a:off x="5526539" y="3162929"/>
            <a:ext cx="21082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ush Image (About</a:t>
            </a:r>
            <a:r>
              <a:rPr kumimoji="0" lang="ko-KR" altLang="en-US" sz="1000" b="0" kern="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</a:t>
            </a:r>
            <a:r>
              <a:rPr kumimoji="0" lang="en-US" sz="1000" b="0" kern="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3 min. 10 sec.)</a:t>
            </a:r>
            <a:endParaRPr lang="en-US" dirty="0"/>
          </a:p>
        </p:txBody>
      </p:sp>
      <p:sp>
        <p:nvSpPr>
          <p:cNvPr id="59" name="직사각형 58"/>
          <p:cNvSpPr/>
          <p:nvPr/>
        </p:nvSpPr>
        <p:spPr>
          <a:xfrm>
            <a:off x="5526539" y="4291402"/>
            <a:ext cx="23711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Transfer Image (About 23 min 20 sec.)</a:t>
            </a:r>
            <a:endParaRPr lang="en-US" dirty="0"/>
          </a:p>
        </p:txBody>
      </p:sp>
      <p:sp>
        <p:nvSpPr>
          <p:cNvPr id="60" name="직사각형 59"/>
          <p:cNvSpPr/>
          <p:nvPr/>
        </p:nvSpPr>
        <p:spPr>
          <a:xfrm>
            <a:off x="5526539" y="5041262"/>
            <a:ext cx="17620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Install Image (About 2 min.)</a:t>
            </a:r>
            <a:endParaRPr lang="en-US" dirty="0"/>
          </a:p>
        </p:txBody>
      </p:sp>
      <p:sp>
        <p:nvSpPr>
          <p:cNvPr id="4097" name="모서리가 둥근 직사각형 4096"/>
          <p:cNvSpPr/>
          <p:nvPr/>
        </p:nvSpPr>
        <p:spPr>
          <a:xfrm>
            <a:off x="479375" y="3920011"/>
            <a:ext cx="7492709" cy="989002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txBody>
          <a:bodyPr rtlCol="0" anchor="ctr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pic>
        <p:nvPicPr>
          <p:cNvPr id="3074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2" y="4270513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0" name="직사각형 4099"/>
          <p:cNvSpPr/>
          <p:nvPr/>
        </p:nvSpPr>
        <p:spPr>
          <a:xfrm>
            <a:off x="8113475" y="4214457"/>
            <a:ext cx="25907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증가 시 추가 소요 예상</a:t>
            </a:r>
            <a:r>
              <a:rPr lang="en-US" altLang="ko-KR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</a:p>
          <a:p>
            <a:r>
              <a:rPr lang="en-US" altLang="ko-KR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en-US" altLang="ko-KR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</a:t>
            </a:r>
            <a:r>
              <a:rPr lang="ko-KR" altLang="en-US" sz="10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</a:t>
            </a:r>
            <a:r>
              <a:rPr lang="ko-KR" altLang="en-US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간 개선 포인트로 결정</a:t>
            </a:r>
            <a:endParaRPr lang="en-US" altLang="ko-KR" sz="1000" dirty="0" smtClean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4102" name="그룹 4101"/>
          <p:cNvGrpSpPr/>
          <p:nvPr/>
        </p:nvGrpSpPr>
        <p:grpSpPr>
          <a:xfrm>
            <a:off x="734074" y="5593980"/>
            <a:ext cx="6200086" cy="972108"/>
            <a:chOff x="1918693" y="5292249"/>
            <a:chExt cx="6200086" cy="972108"/>
          </a:xfrm>
        </p:grpSpPr>
        <p:sp>
          <p:nvSpPr>
            <p:cNvPr id="92" name="직사각형 91"/>
            <p:cNvSpPr/>
            <p:nvPr/>
          </p:nvSpPr>
          <p:spPr>
            <a:xfrm>
              <a:off x="1918693" y="5292249"/>
              <a:ext cx="6200086" cy="972108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Key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2034411" y="5580329"/>
              <a:ext cx="2334721" cy="246221"/>
              <a:chOff x="2918701" y="5593504"/>
              <a:chExt cx="2334721" cy="246221"/>
            </a:xfrm>
          </p:grpSpPr>
          <p:sp>
            <p:nvSpPr>
              <p:cNvPr id="106" name="직사각형 105"/>
              <p:cNvSpPr/>
              <p:nvPr/>
            </p:nvSpPr>
            <p:spPr>
              <a:xfrm>
                <a:off x="2918701" y="5639267"/>
                <a:ext cx="360000" cy="144000"/>
              </a:xfrm>
              <a:prstGeom prst="rect">
                <a:avLst/>
              </a:prstGeom>
              <a:gradFill rotWithShape="1">
                <a:gsLst>
                  <a:gs pos="0">
                    <a:srgbClr val="70AD47">
                      <a:lumMod val="110000"/>
                      <a:satMod val="105000"/>
                      <a:tint val="67000"/>
                    </a:srgbClr>
                  </a:gs>
                  <a:gs pos="50000">
                    <a:srgbClr val="70AD47">
                      <a:lumMod val="105000"/>
                      <a:satMod val="103000"/>
                      <a:tint val="73000"/>
                    </a:srgbClr>
                  </a:gs>
                  <a:gs pos="100000">
                    <a:srgbClr val="70AD47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70AD4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107" name="직사각형 106"/>
              <p:cNvSpPr/>
              <p:nvPr/>
            </p:nvSpPr>
            <p:spPr>
              <a:xfrm>
                <a:off x="3283011" y="5593504"/>
                <a:ext cx="1970411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AUTOSAR Adaptive Application</a:t>
                </a:r>
              </a:p>
            </p:txBody>
          </p:sp>
        </p:grpSp>
        <p:grpSp>
          <p:nvGrpSpPr>
            <p:cNvPr id="94" name="그룹 93"/>
            <p:cNvGrpSpPr/>
            <p:nvPr/>
          </p:nvGrpSpPr>
          <p:grpSpPr>
            <a:xfrm>
              <a:off x="5028760" y="5580329"/>
              <a:ext cx="2639292" cy="246221"/>
              <a:chOff x="5722550" y="5593504"/>
              <a:chExt cx="2639292" cy="246221"/>
            </a:xfrm>
          </p:grpSpPr>
          <p:sp>
            <p:nvSpPr>
              <p:cNvPr id="104" name="직사각형 103"/>
              <p:cNvSpPr/>
              <p:nvPr/>
            </p:nvSpPr>
            <p:spPr>
              <a:xfrm>
                <a:off x="5722550" y="5639267"/>
                <a:ext cx="360000" cy="1440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105" name="직사각형 104"/>
              <p:cNvSpPr/>
              <p:nvPr/>
            </p:nvSpPr>
            <p:spPr>
              <a:xfrm>
                <a:off x="6086860" y="5593504"/>
                <a:ext cx="2274982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AUTOSAR Adaptive Platform module</a:t>
                </a:r>
              </a:p>
            </p:txBody>
          </p:sp>
        </p:grpSp>
        <p:grpSp>
          <p:nvGrpSpPr>
            <p:cNvPr id="95" name="그룹 94"/>
            <p:cNvGrpSpPr/>
            <p:nvPr/>
          </p:nvGrpSpPr>
          <p:grpSpPr>
            <a:xfrm>
              <a:off x="2030101" y="5903596"/>
              <a:ext cx="1433834" cy="246221"/>
              <a:chOff x="2914391" y="5887268"/>
              <a:chExt cx="1433834" cy="246221"/>
            </a:xfrm>
          </p:grpSpPr>
          <p:sp>
            <p:nvSpPr>
              <p:cNvPr id="102" name="직사각형 101"/>
              <p:cNvSpPr/>
              <p:nvPr/>
            </p:nvSpPr>
            <p:spPr>
              <a:xfrm>
                <a:off x="2914391" y="5933031"/>
                <a:ext cx="360000" cy="144000"/>
              </a:xfrm>
              <a:prstGeom prst="rect">
                <a:avLst/>
              </a:prstGeom>
              <a:gradFill rotWithShape="1">
                <a:gsLst>
                  <a:gs pos="0">
                    <a:srgbClr val="FFC000">
                      <a:lumMod val="110000"/>
                      <a:satMod val="105000"/>
                      <a:tint val="67000"/>
                    </a:srgbClr>
                  </a:gs>
                  <a:gs pos="50000">
                    <a:srgbClr val="FFC000">
                      <a:lumMod val="105000"/>
                      <a:satMod val="103000"/>
                      <a:tint val="73000"/>
                    </a:srgbClr>
                  </a:gs>
                  <a:gs pos="100000">
                    <a:srgbClr val="FFC000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103" name="직사각형 102"/>
              <p:cNvSpPr/>
              <p:nvPr/>
            </p:nvSpPr>
            <p:spPr>
              <a:xfrm>
                <a:off x="3278701" y="5887268"/>
                <a:ext cx="1069524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External Entity</a:t>
                </a:r>
              </a:p>
            </p:txBody>
          </p:sp>
        </p:grpSp>
        <p:grpSp>
          <p:nvGrpSpPr>
            <p:cNvPr id="4101" name="그룹 4100"/>
            <p:cNvGrpSpPr/>
            <p:nvPr/>
          </p:nvGrpSpPr>
          <p:grpSpPr>
            <a:xfrm>
              <a:off x="5028760" y="5898248"/>
              <a:ext cx="1095600" cy="246221"/>
              <a:chOff x="351684" y="6492571"/>
              <a:chExt cx="1095600" cy="246221"/>
            </a:xfrm>
          </p:grpSpPr>
          <p:sp>
            <p:nvSpPr>
              <p:cNvPr id="98" name="직사각형 97"/>
              <p:cNvSpPr/>
              <p:nvPr/>
            </p:nvSpPr>
            <p:spPr>
              <a:xfrm>
                <a:off x="715994" y="6492571"/>
                <a:ext cx="731290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Data flow</a:t>
                </a:r>
              </a:p>
            </p:txBody>
          </p:sp>
          <p:cxnSp>
            <p:nvCxnSpPr>
              <p:cNvPr id="99" name="직선 화살표 연결선 98"/>
              <p:cNvCxnSpPr/>
              <p:nvPr/>
            </p:nvCxnSpPr>
            <p:spPr>
              <a:xfrm>
                <a:off x="351684" y="6610334"/>
                <a:ext cx="3600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stealt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3" name="직사각형 62"/>
          <p:cNvSpPr/>
          <p:nvPr/>
        </p:nvSpPr>
        <p:spPr>
          <a:xfrm>
            <a:off x="747376" y="5028828"/>
            <a:ext cx="3993909" cy="288000"/>
          </a:xfrm>
          <a:prstGeom prst="rect">
            <a:avLst/>
          </a:prstGeom>
          <a:gradFill rotWithShape="1">
            <a:gsLst>
              <a:gs pos="0">
                <a:srgbClr val="ED7D31">
                  <a:lumMod val="110000"/>
                  <a:satMod val="105000"/>
                  <a:tint val="67000"/>
                </a:srgbClr>
              </a:gs>
              <a:gs pos="50000">
                <a:srgbClr val="ED7D31">
                  <a:lumMod val="105000"/>
                  <a:satMod val="103000"/>
                  <a:tint val="73000"/>
                </a:srgbClr>
              </a:gs>
              <a:gs pos="100000">
                <a:srgbClr val="ED7D31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UCM Subordinate</a:t>
            </a:r>
          </a:p>
        </p:txBody>
      </p:sp>
      <p:sp>
        <p:nvSpPr>
          <p:cNvPr id="65" name="직사각형 64"/>
          <p:cNvSpPr/>
          <p:nvPr/>
        </p:nvSpPr>
        <p:spPr>
          <a:xfrm>
            <a:off x="734074" y="2348880"/>
            <a:ext cx="27510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000" b="0" kern="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With UCM </a:t>
            </a:r>
            <a:r>
              <a:rPr kumimoji="0" lang="en-US" sz="1000" b="0" kern="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Master, Wireless </a:t>
            </a:r>
            <a:r>
              <a:rPr kumimoji="0" lang="en-US" sz="1000" b="0" kern="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oftware </a:t>
            </a:r>
            <a:r>
              <a:rPr kumimoji="0" lang="en-US" sz="1000" b="0" kern="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Update</a:t>
            </a:r>
          </a:p>
          <a:p>
            <a:r>
              <a:rPr kumimoji="0" lang="en-US" sz="1000" b="0" kern="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(Software Package 1</a:t>
            </a:r>
            <a:r>
              <a:rPr kumimoji="0" lang="ko-KR" altLang="en-US" sz="1000" b="0" kern="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개 전송</a:t>
            </a:r>
            <a:r>
              <a:rPr kumimoji="0" lang="en-US" sz="1000" b="0" kern="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)</a:t>
            </a:r>
            <a:endParaRPr kumimoji="0" lang="en-US" sz="1000" b="0" kern="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aphicFrame>
        <p:nvGraphicFramePr>
          <p:cNvPr id="67" name="표 66"/>
          <p:cNvGraphicFramePr>
            <a:graphicFrameLocks noGrp="1"/>
          </p:cNvGraphicFramePr>
          <p:nvPr/>
        </p:nvGraphicFramePr>
        <p:xfrm>
          <a:off x="695400" y="983546"/>
          <a:ext cx="8784976" cy="548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742711338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255147564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소요 시간은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size 1M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당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5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를 넘지 않아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12327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4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진행 중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점유율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0%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초과할 수 없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748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3749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1418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 개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rategy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anage resources (Increase concurrency) VS Control resource demand (Limit event response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Threa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crease concurrency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2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Performan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063208" y="6993396"/>
            <a:ext cx="7128792" cy="396044"/>
            <a:chOff x="4247244" y="5877272"/>
            <a:chExt cx="7128792" cy="396044"/>
          </a:xfrm>
        </p:grpSpPr>
        <p:sp>
          <p:nvSpPr>
            <p:cNvPr id="66" name="모서리가 둥근 직사각형 65"/>
            <p:cNvSpPr/>
            <p:nvPr/>
          </p:nvSpPr>
          <p:spPr>
            <a:xfrm>
              <a:off x="4247244" y="5877272"/>
              <a:ext cx="31323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Manage resources (Increase concurrency)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7788188" y="5877272"/>
              <a:ext cx="35878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ontrol resource </a:t>
              </a: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demand (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Limit event response)</a:t>
              </a: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7379592" y="5921405"/>
              <a:ext cx="39946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40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VS</a:t>
              </a:r>
              <a:endParaRPr lang="en-US" dirty="0"/>
            </a:p>
          </p:txBody>
        </p:sp>
      </p:grpSp>
      <p:pic>
        <p:nvPicPr>
          <p:cNvPr id="18" name="그림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880" y="1888258"/>
            <a:ext cx="4708800" cy="4189679"/>
          </a:xfrm>
          <a:prstGeom prst="rect">
            <a:avLst/>
          </a:prstGeom>
        </p:spPr>
      </p:pic>
      <p:sp>
        <p:nvSpPr>
          <p:cNvPr id="73" name="텍스트 개체 틀 3"/>
          <p:cNvSpPr txBox="1">
            <a:spLocks/>
          </p:cNvSpPr>
          <p:nvPr/>
        </p:nvSpPr>
        <p:spPr>
          <a:xfrm>
            <a:off x="5674997" y="1882522"/>
            <a:ext cx="5440586" cy="35763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다수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보내야 할 경우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순차적으로 전송하지 않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하여 각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가 증가하더라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이 가능하므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간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나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전송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시간에 수렴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해야 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가 증가함에 따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/ Memory us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증가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94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목차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35" name="텍스트 개체 틀 3"/>
          <p:cNvSpPr txBox="1">
            <a:spLocks/>
          </p:cNvSpPr>
          <p:nvPr/>
        </p:nvSpPr>
        <p:spPr>
          <a:xfrm>
            <a:off x="438485" y="672117"/>
            <a:ext cx="11418155" cy="48905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verview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ext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chitectural Drivers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chitectural Decisio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Securit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Performance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vailability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xtensibility</a:t>
            </a: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ification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rchitectural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presentation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Static View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Dynamic View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Interface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oject </a:t>
            </a:r>
            <a:r>
              <a:rPr lang="en-US" altLang="ko-KR" sz="1400" dirty="0" err="1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Restrospection</a:t>
            </a:r>
            <a:endParaRPr lang="en-US" altLang="ko-KR" sz="1400" dirty="0" smtClean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ppendix.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0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585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Thread Pool &amp; Work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imit event response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2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Performan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063208" y="6993396"/>
            <a:ext cx="7128792" cy="396044"/>
            <a:chOff x="4247244" y="5877272"/>
            <a:chExt cx="7128792" cy="396044"/>
          </a:xfrm>
        </p:grpSpPr>
        <p:sp>
          <p:nvSpPr>
            <p:cNvPr id="66" name="모서리가 둥근 직사각형 65"/>
            <p:cNvSpPr/>
            <p:nvPr/>
          </p:nvSpPr>
          <p:spPr>
            <a:xfrm>
              <a:off x="4247244" y="5877272"/>
              <a:ext cx="31323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Manage resources (Increase concurrency)</a:t>
              </a:r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7788188" y="5877272"/>
              <a:ext cx="3587848" cy="39604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ontrol resource </a:t>
              </a: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demand (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Limit event response)</a:t>
              </a:r>
            </a:p>
          </p:txBody>
        </p:sp>
        <p:sp>
          <p:nvSpPr>
            <p:cNvPr id="68" name="직사각형 67"/>
            <p:cNvSpPr/>
            <p:nvPr/>
          </p:nvSpPr>
          <p:spPr>
            <a:xfrm>
              <a:off x="7379592" y="5921405"/>
              <a:ext cx="39946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40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VS</a:t>
              </a:r>
              <a:endParaRPr lang="en-US" dirty="0"/>
            </a:p>
          </p:txBody>
        </p:sp>
      </p:grpSp>
      <p:sp>
        <p:nvSpPr>
          <p:cNvPr id="73" name="텍스트 개체 틀 3"/>
          <p:cNvSpPr txBox="1">
            <a:spLocks/>
          </p:cNvSpPr>
          <p:nvPr/>
        </p:nvSpPr>
        <p:spPr>
          <a:xfrm>
            <a:off x="5674997" y="1070051"/>
            <a:ext cx="5440586" cy="38348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다수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보내야 할 경우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순차적으로 전송하지 않고 동시에 전송하되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Pool &amp; Thread Work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하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에 전송할 수 있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를 조절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Work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를 설정함으로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시 전송할 수 있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를 조절할 수 있으며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에 따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emory Us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컨트롤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할 수 있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법을 이용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에 비해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총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소요 시간이 증가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70051"/>
            <a:ext cx="4708227" cy="5677087"/>
          </a:xfrm>
          <a:prstGeom prst="rect">
            <a:avLst/>
          </a:prstGeom>
        </p:spPr>
      </p:pic>
      <p:pic>
        <p:nvPicPr>
          <p:cNvPr id="13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180" y="656741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3920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2837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Attribu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방지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복구를 위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rategy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tect Faults(Heartbeat), Recover from Faults(Cold spare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S Recover from faults (Active Redundancy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ARA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복구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메커니즘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활용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&amp; St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저장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3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Availa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61" name="텍스트 개체 틀 3"/>
          <p:cNvSpPr txBox="1">
            <a:spLocks/>
          </p:cNvSpPr>
          <p:nvPr/>
        </p:nvSpPr>
        <p:spPr>
          <a:xfrm>
            <a:off x="6312024" y="3045961"/>
            <a:ext cx="5440586" cy="25422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Functional Clu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하나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Heartbea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통신을 통하여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live Check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imeou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주기 내에 응답이 없는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재시작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재시작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시 중단 없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위하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or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업데이트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현이 쉽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복구를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위한 방법 중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our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량이 가장 적음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탐지 후 </a:t>
            </a:r>
            <a:r>
              <a:rPr lang="ko-KR" altLang="en-US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재시작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시 까지 일정 시간 소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Max. 4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초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268" y="3160209"/>
            <a:ext cx="5474682" cy="1469263"/>
          </a:xfrm>
          <a:prstGeom prst="rect">
            <a:avLst/>
          </a:prstGeom>
        </p:spPr>
      </p:pic>
      <p:pic>
        <p:nvPicPr>
          <p:cNvPr id="63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5940" y="2666536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320053"/>
              </p:ext>
            </p:extLst>
          </p:nvPr>
        </p:nvGraphicFramePr>
        <p:xfrm>
          <a:off x="695400" y="982721"/>
          <a:ext cx="8784976" cy="548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3549804782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5449154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함으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중지되어서는 안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08004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6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도중 전원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ff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더라도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원이 다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되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재개되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067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8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585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ARA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복구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메커니즘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활용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&amp; St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저장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3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Availa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907" y="1304764"/>
            <a:ext cx="5474682" cy="2597121"/>
          </a:xfrm>
          <a:prstGeom prst="rect">
            <a:avLst/>
          </a:prstGeom>
        </p:spPr>
      </p:pic>
      <p:sp>
        <p:nvSpPr>
          <p:cNvPr id="9" name="텍스트 개체 틀 3"/>
          <p:cNvSpPr txBox="1">
            <a:spLocks/>
          </p:cNvSpPr>
          <p:nvPr/>
        </p:nvSpPr>
        <p:spPr>
          <a:xfrm>
            <a:off x="6312024" y="1135039"/>
            <a:ext cx="5440586" cy="40934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Process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 운용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TA Cli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각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ing / Echo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통신하면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mary 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Termin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된 경우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ondary 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계속 진행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imary 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rmin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되더라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단없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ondary 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On-going 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할 수 있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 여부와 관계없이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항상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proces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실행되고 있어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our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배로 필요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58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7954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lated Quality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ttribu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석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존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존재하지 않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B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Diagnostic Tester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의해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설치한 경우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ECU B (Old version)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물리적 손상으로 새로운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B (The latest version)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교체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새로운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B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이미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포함된 이미지가 인스톨됨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4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Extensi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17" name="그룹 116"/>
          <p:cNvGrpSpPr/>
          <p:nvPr/>
        </p:nvGrpSpPr>
        <p:grpSpPr>
          <a:xfrm>
            <a:off x="551384" y="2334240"/>
            <a:ext cx="11053228" cy="3507028"/>
            <a:chOff x="551384" y="2204864"/>
            <a:chExt cx="11053228" cy="3507028"/>
          </a:xfrm>
        </p:grpSpPr>
        <p:pic>
          <p:nvPicPr>
            <p:cNvPr id="102" name="그림 10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1384" y="2204864"/>
              <a:ext cx="6051109" cy="3507028"/>
            </a:xfrm>
            <a:prstGeom prst="rect">
              <a:avLst/>
            </a:prstGeom>
          </p:spPr>
        </p:pic>
        <p:pic>
          <p:nvPicPr>
            <p:cNvPr id="115" name="그림 1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69134" y="2976188"/>
              <a:ext cx="4735478" cy="2373684"/>
            </a:xfrm>
            <a:prstGeom prst="rect">
              <a:avLst/>
            </a:prstGeom>
          </p:spPr>
        </p:pic>
        <p:sp>
          <p:nvSpPr>
            <p:cNvPr id="116" name="오른쪽 화살표 115"/>
            <p:cNvSpPr/>
            <p:nvPr/>
          </p:nvSpPr>
          <p:spPr>
            <a:xfrm>
              <a:off x="5949540" y="3965008"/>
              <a:ext cx="396044" cy="396044"/>
            </a:xfrm>
            <a:prstGeom prst="rightArrow">
              <a:avLst/>
            </a:prstGeom>
            <a:solidFill>
              <a:schemeClr val="bg1">
                <a:lumMod val="75000"/>
              </a:schemeClr>
            </a:solidFill>
          </p:spPr>
          <p:txBody>
            <a:bodyPr rtlCol="0" anchor="ctr">
              <a:sp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</p:grpSp>
      <p:pic>
        <p:nvPicPr>
          <p:cNvPr id="124" name="그림 1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89856" y="2214552"/>
            <a:ext cx="2014756" cy="908696"/>
          </a:xfrm>
          <a:prstGeom prst="rect">
            <a:avLst/>
          </a:prstGeom>
        </p:spPr>
      </p:pic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601433"/>
              </p:ext>
            </p:extLst>
          </p:nvPr>
        </p:nvGraphicFramePr>
        <p:xfrm>
          <a:off x="695400" y="982721"/>
          <a:ext cx="8784976" cy="4572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747">
                  <a:extLst>
                    <a:ext uri="{9D8B030D-6E8A-4147-A177-3AD203B41FA5}">
                      <a16:colId xmlns:a16="http://schemas.microsoft.com/office/drawing/2014/main" val="1957302077"/>
                    </a:ext>
                  </a:extLst>
                </a:gridCol>
                <a:gridCol w="7380229">
                  <a:extLst>
                    <a:ext uri="{9D8B030D-6E8A-4147-A177-3AD203B41FA5}">
                      <a16:colId xmlns:a16="http://schemas.microsoft.com/office/drawing/2014/main" val="508759771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이 새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stall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된 경우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는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compi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없이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과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할 수 있고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새로운 버전으로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업데이트 시킬 수 있어야 한다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.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7980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956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9121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 존재하는 모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각각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o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기 위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UCM Master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</a:t>
            </a:r>
            <a:r>
              <a:rPr lang="ko-KR" altLang="en-US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하여 각 </a:t>
            </a: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설치된 </a:t>
            </a: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정보를 수집하므로</a:t>
            </a: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Runtime </a:t>
            </a:r>
            <a:r>
              <a:rPr lang="ko-KR" altLang="en-US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 </a:t>
            </a:r>
            <a:r>
              <a:rPr lang="en-US" altLang="ko-KR" sz="1400" noProof="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중요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ponsibilit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 하나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또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재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여러 가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s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 각 회사에서 개발 진행하고 있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(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재 존재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vers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19-11, R20-11, R21-11, R22-11 4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지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제공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fa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일부 차이가 있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Runtim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 추가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의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위한 동적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을 위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lu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비교 필요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4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Extensi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63" name="그룹 62"/>
          <p:cNvGrpSpPr/>
          <p:nvPr/>
        </p:nvGrpSpPr>
        <p:grpSpPr>
          <a:xfrm>
            <a:off x="690381" y="1052736"/>
            <a:ext cx="8996277" cy="2455094"/>
            <a:chOff x="690381" y="1103241"/>
            <a:chExt cx="8996277" cy="2455094"/>
          </a:xfrm>
        </p:grpSpPr>
        <p:sp>
          <p:nvSpPr>
            <p:cNvPr id="64" name="직사각형 63"/>
            <p:cNvSpPr/>
            <p:nvPr/>
          </p:nvSpPr>
          <p:spPr>
            <a:xfrm>
              <a:off x="690381" y="1103241"/>
              <a:ext cx="5422184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O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690382" y="2485621"/>
              <a:ext cx="1675132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A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4437433" y="2485621"/>
              <a:ext cx="1675132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C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2563907" y="2485621"/>
              <a:ext cx="1675132" cy="107271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ysDash"/>
              <a:miter lim="800000"/>
            </a:ln>
            <a:effectLst/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CU B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68" name="직사각형 67">
              <a:extLst>
                <a:ext uri="{FF2B5EF4-FFF2-40B4-BE49-F238E27FC236}">
                  <a16:creationId xmlns:a16="http://schemas.microsoft.com/office/drawing/2014/main" id="{64C3E2E0-E370-51E2-45FE-DE90FEC251E9}"/>
                </a:ext>
              </a:extLst>
            </p:cNvPr>
            <p:cNvSpPr/>
            <p:nvPr/>
          </p:nvSpPr>
          <p:spPr>
            <a:xfrm>
              <a:off x="4626999" y="2805978"/>
              <a:ext cx="1296000" cy="4320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ubordinate</a:t>
              </a:r>
            </a:p>
          </p:txBody>
        </p:sp>
        <p:sp>
          <p:nvSpPr>
            <p:cNvPr id="69" name="직사각형 68">
              <a:extLst>
                <a:ext uri="{FF2B5EF4-FFF2-40B4-BE49-F238E27FC236}">
                  <a16:creationId xmlns:a16="http://schemas.microsoft.com/office/drawing/2014/main" id="{64C3E2E0-E370-51E2-45FE-DE90FEC251E9}"/>
                </a:ext>
              </a:extLst>
            </p:cNvPr>
            <p:cNvSpPr/>
            <p:nvPr/>
          </p:nvSpPr>
          <p:spPr>
            <a:xfrm>
              <a:off x="2748686" y="2805978"/>
              <a:ext cx="1296000" cy="4320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ubordinate</a:t>
              </a:r>
            </a:p>
          </p:txBody>
        </p:sp>
        <p:sp>
          <p:nvSpPr>
            <p:cNvPr id="70" name="직사각형 69">
              <a:extLst>
                <a:ext uri="{FF2B5EF4-FFF2-40B4-BE49-F238E27FC236}">
                  <a16:creationId xmlns:a16="http://schemas.microsoft.com/office/drawing/2014/main" id="{64C3E2E0-E370-51E2-45FE-DE90FEC251E9}"/>
                </a:ext>
              </a:extLst>
            </p:cNvPr>
            <p:cNvSpPr/>
            <p:nvPr/>
          </p:nvSpPr>
          <p:spPr>
            <a:xfrm>
              <a:off x="879948" y="2805978"/>
              <a:ext cx="1296000" cy="4320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ubordinate</a:t>
              </a:r>
            </a:p>
          </p:txBody>
        </p:sp>
        <p:sp>
          <p:nvSpPr>
            <p:cNvPr id="71" name="직사각형 70"/>
            <p:cNvSpPr/>
            <p:nvPr/>
          </p:nvSpPr>
          <p:spPr>
            <a:xfrm>
              <a:off x="807154" y="1306881"/>
              <a:ext cx="5188638" cy="773995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Master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72" name="직사각형 71"/>
            <p:cNvSpPr/>
            <p:nvPr/>
          </p:nvSpPr>
          <p:spPr>
            <a:xfrm>
              <a:off x="879948" y="1547307"/>
              <a:ext cx="1296000" cy="43200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Subordin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stance A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73" name="직사각형 72"/>
            <p:cNvSpPr/>
            <p:nvPr/>
          </p:nvSpPr>
          <p:spPr>
            <a:xfrm>
              <a:off x="2748686" y="1547307"/>
              <a:ext cx="1296000" cy="43200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Subordin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stance B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74" name="직사각형 73"/>
            <p:cNvSpPr/>
            <p:nvPr/>
          </p:nvSpPr>
          <p:spPr>
            <a:xfrm>
              <a:off x="4626999" y="1547307"/>
              <a:ext cx="1296000" cy="43200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 Subordin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stance C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grpSp>
          <p:nvGrpSpPr>
            <p:cNvPr id="75" name="그룹 74"/>
            <p:cNvGrpSpPr/>
            <p:nvPr/>
          </p:nvGrpSpPr>
          <p:grpSpPr>
            <a:xfrm>
              <a:off x="1461148" y="1979307"/>
              <a:ext cx="133600" cy="826671"/>
              <a:chOff x="1461148" y="1979307"/>
              <a:chExt cx="133600" cy="826671"/>
            </a:xfrm>
          </p:grpSpPr>
          <p:cxnSp>
            <p:nvCxnSpPr>
              <p:cNvPr id="88" name="직선 화살표 연결선 87"/>
              <p:cNvCxnSpPr/>
              <p:nvPr/>
            </p:nvCxnSpPr>
            <p:spPr>
              <a:xfrm>
                <a:off x="14611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9" name="직선 화살표 연결선 88"/>
              <p:cNvCxnSpPr/>
              <p:nvPr/>
            </p:nvCxnSpPr>
            <p:spPr>
              <a:xfrm>
                <a:off x="15947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</p:grpSp>
        <p:grpSp>
          <p:nvGrpSpPr>
            <p:cNvPr id="76" name="그룹 75"/>
            <p:cNvGrpSpPr/>
            <p:nvPr/>
          </p:nvGrpSpPr>
          <p:grpSpPr>
            <a:xfrm>
              <a:off x="3329886" y="1979306"/>
              <a:ext cx="133600" cy="826671"/>
              <a:chOff x="1461148" y="1979307"/>
              <a:chExt cx="133600" cy="826671"/>
            </a:xfrm>
          </p:grpSpPr>
          <p:cxnSp>
            <p:nvCxnSpPr>
              <p:cNvPr id="86" name="직선 화살표 연결선 85"/>
              <p:cNvCxnSpPr/>
              <p:nvPr/>
            </p:nvCxnSpPr>
            <p:spPr>
              <a:xfrm>
                <a:off x="14611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7" name="직선 화살표 연결선 86"/>
              <p:cNvCxnSpPr/>
              <p:nvPr/>
            </p:nvCxnSpPr>
            <p:spPr>
              <a:xfrm>
                <a:off x="15947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</p:grpSp>
        <p:grpSp>
          <p:nvGrpSpPr>
            <p:cNvPr id="77" name="그룹 76"/>
            <p:cNvGrpSpPr/>
            <p:nvPr/>
          </p:nvGrpSpPr>
          <p:grpSpPr>
            <a:xfrm>
              <a:off x="5208199" y="1979305"/>
              <a:ext cx="133600" cy="826671"/>
              <a:chOff x="1461148" y="1979307"/>
              <a:chExt cx="133600" cy="826671"/>
            </a:xfrm>
          </p:grpSpPr>
          <p:cxnSp>
            <p:nvCxnSpPr>
              <p:cNvPr id="84" name="직선 화살표 연결선 83"/>
              <p:cNvCxnSpPr/>
              <p:nvPr/>
            </p:nvCxnSpPr>
            <p:spPr>
              <a:xfrm>
                <a:off x="14611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5" name="직선 화살표 연결선 84"/>
              <p:cNvCxnSpPr/>
              <p:nvPr/>
            </p:nvCxnSpPr>
            <p:spPr>
              <a:xfrm>
                <a:off x="1594748" y="1979307"/>
                <a:ext cx="0" cy="82667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</p:grpSp>
        <p:grpSp>
          <p:nvGrpSpPr>
            <p:cNvPr id="78" name="그룹 77"/>
            <p:cNvGrpSpPr/>
            <p:nvPr/>
          </p:nvGrpSpPr>
          <p:grpSpPr>
            <a:xfrm>
              <a:off x="6427410" y="2218390"/>
              <a:ext cx="3259248" cy="1339945"/>
              <a:chOff x="3141552" y="3789611"/>
              <a:chExt cx="3259248" cy="1339945"/>
            </a:xfrm>
          </p:grpSpPr>
          <p:cxnSp>
            <p:nvCxnSpPr>
              <p:cNvPr id="79" name="직선 화살표 연결선 78"/>
              <p:cNvCxnSpPr/>
              <p:nvPr/>
            </p:nvCxnSpPr>
            <p:spPr>
              <a:xfrm rot="16200000">
                <a:off x="3396686" y="4779443"/>
                <a:ext cx="0" cy="34562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  <a:tailEnd type="stealth"/>
              </a:ln>
              <a:effectLst/>
            </p:spPr>
          </p:cxnSp>
          <p:cxnSp>
            <p:nvCxnSpPr>
              <p:cNvPr id="80" name="직선 화살표 연결선 79"/>
              <p:cNvCxnSpPr/>
              <p:nvPr/>
            </p:nvCxnSpPr>
            <p:spPr>
              <a:xfrm rot="16200000">
                <a:off x="3396686" y="4537287"/>
                <a:ext cx="0" cy="345621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0000"/>
                </a:solidFill>
                <a:prstDash val="solid"/>
                <a:miter lim="800000"/>
                <a:headEnd type="stealth"/>
                <a:tailEnd type="none"/>
              </a:ln>
              <a:effectLst/>
            </p:spPr>
          </p:cxnSp>
          <p:sp>
            <p:nvSpPr>
              <p:cNvPr id="81" name="직사각형 80">
                <a:extLst>
                  <a:ext uri="{FF2B5EF4-FFF2-40B4-BE49-F238E27FC236}">
                    <a16:creationId xmlns:a16="http://schemas.microsoft.com/office/drawing/2014/main" id="{563D3819-47AB-AFDA-3922-6AFCE3C612DA}"/>
                  </a:ext>
                </a:extLst>
              </p:cNvPr>
              <p:cNvSpPr/>
              <p:nvPr/>
            </p:nvSpPr>
            <p:spPr>
              <a:xfrm>
                <a:off x="3141552" y="3789611"/>
                <a:ext cx="3259248" cy="1339945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Key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Adaptive AUTOSAR Functional Cluster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UCM Subordinate </a:t>
                </a: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관리를 위한 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Class </a:t>
                </a:r>
                <a:r>
                  <a: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의 </a:t>
                </a: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Object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SWCL Info, History, and so on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Transfer Software Package</a:t>
                </a:r>
              </a:p>
            </p:txBody>
          </p:sp>
          <p:sp>
            <p:nvSpPr>
              <p:cNvPr id="82" name="직사각형 81">
                <a:extLst>
                  <a:ext uri="{FF2B5EF4-FFF2-40B4-BE49-F238E27FC236}">
                    <a16:creationId xmlns:a16="http://schemas.microsoft.com/office/drawing/2014/main" id="{D3B2E71E-3EAC-8284-B9F9-C8DA06C9F8F4}"/>
                  </a:ext>
                </a:extLst>
              </p:cNvPr>
              <p:cNvSpPr/>
              <p:nvPr/>
            </p:nvSpPr>
            <p:spPr>
              <a:xfrm>
                <a:off x="3223875" y="4139011"/>
                <a:ext cx="345621" cy="157066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83" name="직사각형 82"/>
              <p:cNvSpPr/>
              <p:nvPr/>
            </p:nvSpPr>
            <p:spPr>
              <a:xfrm>
                <a:off x="3223875" y="4389409"/>
                <a:ext cx="345621" cy="157066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01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43372" y="656692"/>
            <a:ext cx="5709600" cy="4136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Simple Factory pattern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4.4 Architectural Decision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Extensibility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371" y="1052736"/>
            <a:ext cx="5401219" cy="2413311"/>
          </a:xfrm>
          <a:prstGeom prst="rect">
            <a:avLst/>
          </a:prstGeom>
        </p:spPr>
      </p:pic>
      <p:sp>
        <p:nvSpPr>
          <p:cNvPr id="290" name="텍스트 개체 틀 3"/>
          <p:cNvSpPr txBox="1">
            <a:spLocks/>
          </p:cNvSpPr>
          <p:nvPr/>
        </p:nvSpPr>
        <p:spPr>
          <a:xfrm>
            <a:off x="6152449" y="656692"/>
            <a:ext cx="5709600" cy="4136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Prototype pattern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91" name="그림 2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3173" y="1247107"/>
            <a:ext cx="5401219" cy="2219136"/>
          </a:xfrm>
          <a:prstGeom prst="rect">
            <a:avLst/>
          </a:prstGeom>
        </p:spPr>
      </p:pic>
      <p:sp>
        <p:nvSpPr>
          <p:cNvPr id="292" name="텍스트 개체 틀 3"/>
          <p:cNvSpPr txBox="1">
            <a:spLocks/>
          </p:cNvSpPr>
          <p:nvPr/>
        </p:nvSpPr>
        <p:spPr>
          <a:xfrm>
            <a:off x="442849" y="3605741"/>
            <a:ext cx="5440586" cy="20251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vers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fac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대응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cre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클래스 생성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(s).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s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따라 적절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ransfer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Process,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ctivate,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inish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의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작 제어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SubRxx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clas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로 새로운 버전 확장에 대해 쉽게 대응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새로운 버전 추가 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e.g. R23-11) Factor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코드 변경 필요</a:t>
            </a:r>
            <a:endParaRPr lang="en-US" altLang="ko-KR" sz="1400" dirty="0" smtClean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93" name="텍스트 개체 틀 3"/>
          <p:cNvSpPr txBox="1">
            <a:spLocks/>
          </p:cNvSpPr>
          <p:nvPr/>
        </p:nvSpPr>
        <p:spPr>
          <a:xfrm>
            <a:off x="6152449" y="3605741"/>
            <a:ext cx="5440586" cy="20251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vers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별 객체 생성 후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totypeRegistry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등록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.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검색되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s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따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gistry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기 생성된 객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n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여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장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 속도 빠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초기화 코드 제거 가능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점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복잡한 객체 복제는 다소 어려움</a:t>
            </a:r>
            <a:endParaRPr lang="en-US" altLang="ko-KR" sz="1400" dirty="0" smtClean="0">
              <a:solidFill>
                <a:srgbClr val="FF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94" name="텍스트 개체 틀 3"/>
          <p:cNvSpPr txBox="1">
            <a:spLocks/>
          </p:cNvSpPr>
          <p:nvPr/>
        </p:nvSpPr>
        <p:spPr>
          <a:xfrm>
            <a:off x="443894" y="5978780"/>
            <a:ext cx="11418155" cy="7755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cision : Simple Factory pattern</a:t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UCM Sub. vers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4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지 종류로 존재하기 때문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crete cla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대응이 가능하다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Simple Factory pattern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 속도와 </a:t>
            </a:r>
            <a:r>
              <a:rPr lang="en-US" altLang="ko-KR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totype pattern </a:t>
            </a:r>
            <a:r>
              <a:rPr lang="ko-KR" altLang="en-US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lone </a:t>
            </a:r>
            <a:r>
              <a:rPr lang="ko-KR" altLang="en-US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으로</a:t>
            </a:r>
            <a:r>
              <a:rPr lang="en-US" altLang="ko-KR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nstance </a:t>
            </a:r>
            <a:r>
              <a:rPr lang="ko-KR" altLang="en-US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생성 속도는 큰 차이가 없음도 확인함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95" name="Picture 2" descr="체크 표시 클립 아트. 무료 다운로드. | Creazill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386" y="642060"/>
            <a:ext cx="289283" cy="2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646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16348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marL="0" lvl="0" indent="0">
              <a:lnSpc>
                <a:spcPct val="120000"/>
              </a:lnSpc>
              <a:spcBef>
                <a:spcPct val="50000"/>
              </a:spcBef>
              <a:buNone/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Key Q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대한 설계 검증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5. Verific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438485" y="620688"/>
            <a:ext cx="11300618" cy="828092"/>
            <a:chOff x="731404" y="1160748"/>
            <a:chExt cx="11300618" cy="828092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731404" y="1304763"/>
              <a:ext cx="11300618" cy="684077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216000" rIns="144000" bIns="144000" rtlCol="0" anchor="t"/>
            <a:lstStyle/>
            <a:p>
              <a:pPr marL="171450" lvl="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LARA 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Platform </a:t>
              </a: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의 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build </a:t>
              </a: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arget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중 </a:t>
              </a: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QEMU 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x86-64 (</a:t>
              </a:r>
              <a:r>
                <a:rPr lang="en-US" sz="1200" dirty="0" err="1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Yocto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</a:t>
              </a: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Linux) </a:t>
              </a: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에서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검증</a:t>
              </a:r>
              <a:endParaRPr lang="en-US" altLang="ko-KR" sz="12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171450" lvl="0" indent="-1714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Prototype 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xecutable </a:t>
              </a: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</a:t>
              </a:r>
              <a:r>
                <a:rPr 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++14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기반 구현</a:t>
              </a:r>
              <a:endParaRPr lang="en-US" altLang="ko-KR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7" name="모서리가 둥근 직사각형 6"/>
            <p:cNvSpPr/>
            <p:nvPr/>
          </p:nvSpPr>
          <p:spPr>
            <a:xfrm>
              <a:off x="875420" y="1160748"/>
              <a:ext cx="914400" cy="2880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200" dirty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검증 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  <a:cs typeface="Arial" panose="020B0604020202020204" pitchFamily="34" charset="0"/>
                </a:rPr>
                <a:t>환경</a:t>
              </a:r>
              <a:endParaRPr lang="en-US" sz="1200" dirty="0"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3536598"/>
              </p:ext>
            </p:extLst>
          </p:nvPr>
        </p:nvGraphicFramePr>
        <p:xfrm>
          <a:off x="721879" y="1880828"/>
          <a:ext cx="11017224" cy="4846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3233048647"/>
                    </a:ext>
                  </a:extLst>
                </a:gridCol>
                <a:gridCol w="4041973">
                  <a:extLst>
                    <a:ext uri="{9D8B030D-6E8A-4147-A177-3AD203B41FA5}">
                      <a16:colId xmlns:a16="http://schemas.microsoft.com/office/drawing/2014/main" val="901065036"/>
                    </a:ext>
                  </a:extLst>
                </a:gridCol>
                <a:gridCol w="5571095">
                  <a:extLst>
                    <a:ext uri="{9D8B030D-6E8A-4147-A177-3AD203B41FA5}">
                      <a16:colId xmlns:a16="http://schemas.microsoft.com/office/drawing/2014/main" val="359708873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.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D</a:t>
                      </a:r>
                      <a:b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QA Category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rifica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68205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Security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및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무결성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Crypto Daemo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e-Installed Key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무결성 확인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Daemo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의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e-Installed Key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이용해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ignature Verificatio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수행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-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상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Package,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정상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UTHENTICATION TAG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 Verification Pass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정상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Vehicle Package / AUTHENTICATION TAG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변조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  Verification Fail</a:t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- Vehicle Packag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변조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 /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정상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sym typeface="Wingdings" panose="05000000000000000000" pitchFamily="2" charset="2"/>
                        </a:rPr>
                        <a:t>AUTHENTICATION TAG  Verification Fail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0795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Performance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Upd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소요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시간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Threa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Work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를 이용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동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해야 하는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 4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에 대하여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- Thread Work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수 제한 없이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Package(s)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 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  3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 동시 전송 시부터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Load 30%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과 확인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- Thread Work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수를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개로 제한 후 전송 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PU Load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약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27%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점유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  Softwar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전송 및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rocess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까지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1MB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당 약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분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* </a:t>
                      </a:r>
                      <a:r>
                        <a:rPr lang="ko-KR" altLang="en-US" sz="1200" baseline="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실제 </a:t>
                      </a:r>
                      <a:r>
                        <a:rPr lang="en-US" altLang="ko-KR" sz="1200" baseline="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Target </a:t>
                      </a:r>
                      <a:r>
                        <a:rPr lang="ko-KR" altLang="en-US" sz="1200" baseline="0" dirty="0" smtClean="0">
                          <a:solidFill>
                            <a:srgbClr val="00B050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서 추가 확인 필요</a:t>
                      </a:r>
                      <a:endParaRPr lang="en-US" sz="1200" dirty="0">
                        <a:solidFill>
                          <a:srgbClr val="00B050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823078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Availability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함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탐지 및 복구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PHM Modul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을 이용한 결함 탐지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Heartbeat)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및 복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재시작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latformHealthManagerImpl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nterfac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Heartbeat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통신 확인 완료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IGTERM, SIGKILL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Terminatio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시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초 이내 복구 완료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076867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Extensibility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between newly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installed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UCM Subordinate</a:t>
                      </a: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Without recompiling or reconfiguration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of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cision : Simpl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Factory Patter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적용</a:t>
                      </a:r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검증 내용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설치되지 않은 다른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QEMU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에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시작 시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가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버전에 따라 객체 생성 및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확인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2397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80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344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atic View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1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tatic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36" name="표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8494451"/>
              </p:ext>
            </p:extLst>
          </p:nvPr>
        </p:nvGraphicFramePr>
        <p:xfrm>
          <a:off x="695400" y="3465004"/>
          <a:ext cx="11017224" cy="2834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633670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Module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escription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late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SRS ID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Package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/>
                      </a:r>
                      <a:b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ManagerApp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각종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face implement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(</a:t>
                      </a:r>
                      <a:r>
                        <a:rPr lang="en-US" altLang="ko-KR" sz="1200" baseline="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PackageManagement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VDAI, VSM, PHM)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cor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기능 수행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1/02/05/06/07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FSM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Master state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관리 및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Notify to OTA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lient, Vehicle Driver App, Vehicle State Manager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7</a:t>
                      </a: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5/06 (availabil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58877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ubordinate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내 존재하는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Subordinate(s)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와의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nteraction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1/02/03</a:t>
                      </a:r>
                    </a:p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7 (extensibility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60330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arsing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Package / Software Package MANIFEST Parsin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8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20822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ampaignStep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MANIFEST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parsing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결과에 따라 전체 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hicle Software Update orchestration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5/08</a:t>
                      </a:r>
                      <a:b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3/04 (performance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95285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Libs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 Interface, Package Extractor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제공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FR-UCM-04</a:t>
                      </a:r>
                      <a:b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</a:b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EQ-QA-UCM-01/02 (security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36110"/>
                  </a:ext>
                </a:extLst>
              </a:tr>
            </a:tbl>
          </a:graphicData>
        </a:graphic>
      </p:graphicFrame>
      <p:grpSp>
        <p:nvGrpSpPr>
          <p:cNvPr id="37" name="그룹 36"/>
          <p:cNvGrpSpPr/>
          <p:nvPr/>
        </p:nvGrpSpPr>
        <p:grpSpPr>
          <a:xfrm>
            <a:off x="696224" y="980728"/>
            <a:ext cx="10656360" cy="2193891"/>
            <a:chOff x="0" y="1855028"/>
            <a:chExt cx="10922000" cy="2248579"/>
          </a:xfrm>
        </p:grpSpPr>
        <p:grpSp>
          <p:nvGrpSpPr>
            <p:cNvPr id="38" name="그룹 37"/>
            <p:cNvGrpSpPr/>
            <p:nvPr/>
          </p:nvGrpSpPr>
          <p:grpSpPr>
            <a:xfrm>
              <a:off x="0" y="1855028"/>
              <a:ext cx="8605732" cy="2244837"/>
              <a:chOff x="0" y="1855028"/>
              <a:chExt cx="8605732" cy="2244837"/>
            </a:xfrm>
          </p:grpSpPr>
          <p:sp>
            <p:nvSpPr>
              <p:cNvPr id="45" name="직사각형 44"/>
              <p:cNvSpPr/>
              <p:nvPr/>
            </p:nvSpPr>
            <p:spPr>
              <a:xfrm>
                <a:off x="0" y="1855028"/>
                <a:ext cx="1800000" cy="216000"/>
              </a:xfrm>
              <a:prstGeom prst="rect">
                <a:avLst/>
              </a:prstGeom>
              <a:solidFill>
                <a:srgbClr val="F7ECE1"/>
              </a:solidFill>
              <a:ln w="12700">
                <a:solidFill>
                  <a:srgbClr val="AD98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000" dirty="0" err="1" smtClean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UCMMaster</a:t>
                </a:r>
                <a:endParaRPr lang="en-US" sz="1000" dirty="0">
                  <a:solidFill>
                    <a:schemeClr val="tx1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endParaRPr>
              </a:p>
            </p:txBody>
          </p:sp>
          <p:sp>
            <p:nvSpPr>
              <p:cNvPr id="46" name="직사각형 45"/>
              <p:cNvSpPr/>
              <p:nvPr/>
            </p:nvSpPr>
            <p:spPr>
              <a:xfrm>
                <a:off x="0" y="2066051"/>
                <a:ext cx="8605732" cy="2033814"/>
              </a:xfrm>
              <a:prstGeom prst="rect">
                <a:avLst/>
              </a:prstGeom>
              <a:solidFill>
                <a:srgbClr val="F7ECE1"/>
              </a:solidFill>
              <a:ln w="12700">
                <a:solidFill>
                  <a:srgbClr val="AD98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endParaRPr>
              </a:p>
            </p:txBody>
          </p:sp>
          <p:grpSp>
            <p:nvGrpSpPr>
              <p:cNvPr id="47" name="그룹 46"/>
              <p:cNvGrpSpPr/>
              <p:nvPr/>
            </p:nvGrpSpPr>
            <p:grpSpPr>
              <a:xfrm>
                <a:off x="176903" y="3279127"/>
                <a:ext cx="2313459" cy="643024"/>
                <a:chOff x="268756" y="3877563"/>
                <a:chExt cx="2313459" cy="643024"/>
              </a:xfrm>
            </p:grpSpPr>
            <p:sp>
              <p:nvSpPr>
                <p:cNvPr id="63" name="직사각형 62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err="1" smtClean="0">
                      <a:solidFill>
                        <a:schemeClr val="tx1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CampaignSteps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64" name="직사각형 63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48" name="그룹 47"/>
              <p:cNvGrpSpPr/>
              <p:nvPr/>
            </p:nvGrpSpPr>
            <p:grpSpPr>
              <a:xfrm>
                <a:off x="178635" y="2286067"/>
                <a:ext cx="2313459" cy="643024"/>
                <a:chOff x="268756" y="3877563"/>
                <a:chExt cx="2313459" cy="643024"/>
              </a:xfrm>
            </p:grpSpPr>
            <p:sp>
              <p:nvSpPr>
                <p:cNvPr id="61" name="직사각형 60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err="1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VehiclePackageManagerApp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62" name="직사각형 61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49" name="그룹 48"/>
              <p:cNvGrpSpPr/>
              <p:nvPr/>
            </p:nvGrpSpPr>
            <p:grpSpPr>
              <a:xfrm>
                <a:off x="6113639" y="2286068"/>
                <a:ext cx="2313459" cy="643023"/>
                <a:chOff x="6205492" y="1884013"/>
                <a:chExt cx="2313459" cy="643023"/>
              </a:xfrm>
            </p:grpSpPr>
            <p:sp>
              <p:nvSpPr>
                <p:cNvPr id="59" name="직사각형 58"/>
                <p:cNvSpPr/>
                <p:nvPr/>
              </p:nvSpPr>
              <p:spPr>
                <a:xfrm>
                  <a:off x="6205492" y="188401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Subordinates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60" name="직사각형 59"/>
                <p:cNvSpPr/>
                <p:nvPr/>
              </p:nvSpPr>
              <p:spPr>
                <a:xfrm>
                  <a:off x="6205493" y="2100012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50" name="그룹 49"/>
              <p:cNvGrpSpPr/>
              <p:nvPr/>
            </p:nvGrpSpPr>
            <p:grpSpPr>
              <a:xfrm>
                <a:off x="3146137" y="3279127"/>
                <a:ext cx="2313459" cy="643024"/>
                <a:chOff x="268756" y="3877563"/>
                <a:chExt cx="2313459" cy="643024"/>
              </a:xfrm>
            </p:grpSpPr>
            <p:sp>
              <p:nvSpPr>
                <p:cNvPr id="57" name="직사각형 56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smtClean="0">
                      <a:solidFill>
                        <a:schemeClr val="tx1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FSM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58" name="직사각형 57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51" name="그룹 50"/>
              <p:cNvGrpSpPr/>
              <p:nvPr/>
            </p:nvGrpSpPr>
            <p:grpSpPr>
              <a:xfrm>
                <a:off x="3146137" y="2286067"/>
                <a:ext cx="2313459" cy="643024"/>
                <a:chOff x="268756" y="3877563"/>
                <a:chExt cx="2313459" cy="643024"/>
              </a:xfrm>
            </p:grpSpPr>
            <p:sp>
              <p:nvSpPr>
                <p:cNvPr id="55" name="직사각형 54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 err="1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UCMLibs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56" name="직사각형 55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  <p:grpSp>
            <p:nvGrpSpPr>
              <p:cNvPr id="52" name="그룹 51"/>
              <p:cNvGrpSpPr/>
              <p:nvPr/>
            </p:nvGrpSpPr>
            <p:grpSpPr>
              <a:xfrm>
                <a:off x="6115371" y="3279127"/>
                <a:ext cx="2313459" cy="643024"/>
                <a:chOff x="268756" y="3877563"/>
                <a:chExt cx="2313459" cy="643024"/>
              </a:xfrm>
            </p:grpSpPr>
            <p:sp>
              <p:nvSpPr>
                <p:cNvPr id="53" name="직사각형 52"/>
                <p:cNvSpPr/>
                <p:nvPr/>
              </p:nvSpPr>
              <p:spPr>
                <a:xfrm>
                  <a:off x="268756" y="3877563"/>
                  <a:ext cx="1800000" cy="216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en-US" sz="1000" dirty="0">
                      <a:solidFill>
                        <a:prstClr val="black"/>
                      </a:solidFill>
                      <a:latin typeface="LG Smart UI SemiBold" panose="020B0700000101010101" pitchFamily="50" charset="-127"/>
                      <a:ea typeface="LG Smart UI SemiBold" panose="020B0700000101010101" pitchFamily="50" charset="-127"/>
                    </a:rPr>
                    <a:t>Parsing</a:t>
                  </a:r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54" name="직사각형 53"/>
                <p:cNvSpPr/>
                <p:nvPr/>
              </p:nvSpPr>
              <p:spPr>
                <a:xfrm>
                  <a:off x="268757" y="4093563"/>
                  <a:ext cx="2313458" cy="427024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</p:grpSp>
        <p:grpSp>
          <p:nvGrpSpPr>
            <p:cNvPr id="39" name="그룹 38"/>
            <p:cNvGrpSpPr/>
            <p:nvPr/>
          </p:nvGrpSpPr>
          <p:grpSpPr>
            <a:xfrm>
              <a:off x="8782635" y="3226045"/>
              <a:ext cx="2139365" cy="877562"/>
              <a:chOff x="8782635" y="3222154"/>
              <a:chExt cx="2139365" cy="885998"/>
            </a:xfrm>
          </p:grpSpPr>
          <p:sp>
            <p:nvSpPr>
              <p:cNvPr id="40" name="직사각형 39">
                <a:extLst>
                  <a:ext uri="{FF2B5EF4-FFF2-40B4-BE49-F238E27FC236}">
                    <a16:creationId xmlns:a16="http://schemas.microsoft.com/office/drawing/2014/main" id="{563D3819-47AB-AFDA-3922-6AFCE3C612DA}"/>
                  </a:ext>
                </a:extLst>
              </p:cNvPr>
              <p:cNvSpPr/>
              <p:nvPr/>
            </p:nvSpPr>
            <p:spPr>
              <a:xfrm>
                <a:off x="8782635" y="3222154"/>
                <a:ext cx="2139365" cy="871475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1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Key</a:t>
                </a:r>
              </a:p>
            </p:txBody>
          </p:sp>
          <p:sp>
            <p:nvSpPr>
              <p:cNvPr id="41" name="직사각형 40"/>
              <p:cNvSpPr/>
              <p:nvPr/>
            </p:nvSpPr>
            <p:spPr>
              <a:xfrm>
                <a:off x="9625424" y="3554154"/>
                <a:ext cx="1289135" cy="5539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ko-KR" sz="1000" kern="0" dirty="0" smtClean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Package</a:t>
                </a:r>
                <a:br>
                  <a:rPr lang="en-US" altLang="ko-KR" sz="1000" kern="0" dirty="0" smtClean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</a:br>
                <a:r>
                  <a:rPr lang="en-US" altLang="ko-KR" sz="1000" kern="0" dirty="0" smtClean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- Set of Modules or</a:t>
                </a:r>
                <a:br>
                  <a:rPr lang="en-US" altLang="ko-KR" sz="1000" kern="0" dirty="0" smtClean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</a:br>
                <a:r>
                  <a:rPr lang="en-US" altLang="ko-KR" sz="1000" kern="0" dirty="0" smtClean="0">
                    <a:solidFill>
                      <a:prstClr val="black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- Packages</a:t>
                </a:r>
                <a:endParaRPr lang="en-US" dirty="0"/>
              </a:p>
            </p:txBody>
          </p:sp>
          <p:grpSp>
            <p:nvGrpSpPr>
              <p:cNvPr id="42" name="그룹 41"/>
              <p:cNvGrpSpPr/>
              <p:nvPr/>
            </p:nvGrpSpPr>
            <p:grpSpPr>
              <a:xfrm>
                <a:off x="8905424" y="3651165"/>
                <a:ext cx="720000" cy="360001"/>
                <a:chOff x="9986081" y="1587961"/>
                <a:chExt cx="720000" cy="360001"/>
              </a:xfrm>
            </p:grpSpPr>
            <p:sp>
              <p:nvSpPr>
                <p:cNvPr id="43" name="직사각형 42"/>
                <p:cNvSpPr/>
                <p:nvPr/>
              </p:nvSpPr>
              <p:spPr>
                <a:xfrm>
                  <a:off x="9986081" y="1587961"/>
                  <a:ext cx="360000" cy="180000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  <p:sp>
              <p:nvSpPr>
                <p:cNvPr id="44" name="직사각형 43"/>
                <p:cNvSpPr/>
                <p:nvPr/>
              </p:nvSpPr>
              <p:spPr>
                <a:xfrm>
                  <a:off x="9986081" y="1767961"/>
                  <a:ext cx="720000" cy="180001"/>
                </a:xfrm>
                <a:prstGeom prst="rect">
                  <a:avLst/>
                </a:prstGeom>
                <a:solidFill>
                  <a:srgbClr val="F7ECE1"/>
                </a:solidFill>
                <a:ln w="12700">
                  <a:solidFill>
                    <a:srgbClr val="AD989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  <a:latin typeface="LG Smart UI SemiBold" panose="020B0700000101010101" pitchFamily="50" charset="-127"/>
                    <a:ea typeface="LG Smart UI SemiBold" panose="020B0700000101010101" pitchFamily="50" charset="-127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363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2344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composition of Static View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6588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1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Static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View (Decomposition)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404" y="944724"/>
            <a:ext cx="8244916" cy="575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27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4291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) Backend Serv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하여 무선으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 -&gt;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일반적인 소프트웨어 업데이트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정비소에서 </a:t>
            </a:r>
            <a:r>
              <a:rPr lang="ko-KR" altLang="en-US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단기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Diagnostic Tester Tool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하여 유선으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 -&gt;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정기 검진 또는 자동차 고장에 의한 소프트웨어 업데이트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6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.2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44" name="그룹 43">
            <a:extLst>
              <a:ext uri="{FF2B5EF4-FFF2-40B4-BE49-F238E27FC236}">
                <a16:creationId xmlns:a16="http://schemas.microsoft.com/office/drawing/2014/main" id="{FF831844-F404-542E-4E3D-372E41EA44E3}"/>
              </a:ext>
            </a:extLst>
          </p:cNvPr>
          <p:cNvGrpSpPr/>
          <p:nvPr/>
        </p:nvGrpSpPr>
        <p:grpSpPr>
          <a:xfrm>
            <a:off x="8849743" y="4400693"/>
            <a:ext cx="2970893" cy="1339945"/>
            <a:chOff x="432707" y="5172335"/>
            <a:chExt cx="2970893" cy="1339945"/>
          </a:xfrm>
        </p:grpSpPr>
        <p:sp>
          <p:nvSpPr>
            <p:cNvPr id="45" name="직사각형 44">
              <a:extLst>
                <a:ext uri="{FF2B5EF4-FFF2-40B4-BE49-F238E27FC236}">
                  <a16:creationId xmlns:a16="http://schemas.microsoft.com/office/drawing/2014/main" id="{F4D0266C-7BF1-04E7-6E17-C87CE3B5157A}"/>
                </a:ext>
              </a:extLst>
            </p:cNvPr>
            <p:cNvSpPr/>
            <p:nvPr/>
          </p:nvSpPr>
          <p:spPr>
            <a:xfrm>
              <a:off x="432707" y="5172335"/>
              <a:ext cx="2970893" cy="1339945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Key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Adaptive AUTOSAR Functional Cluster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Adaptive AUTOSAR Application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Vehicle communication channel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             Data flow</a:t>
              </a:r>
            </a:p>
          </p:txBody>
        </p:sp>
        <p:sp>
          <p:nvSpPr>
            <p:cNvPr id="46" name="직사각형 45">
              <a:extLst>
                <a:ext uri="{FF2B5EF4-FFF2-40B4-BE49-F238E27FC236}">
                  <a16:creationId xmlns:a16="http://schemas.microsoft.com/office/drawing/2014/main" id="{A1CF295E-6B3F-2766-45CA-F09B50CFCE7C}"/>
                </a:ext>
              </a:extLst>
            </p:cNvPr>
            <p:cNvSpPr/>
            <p:nvPr/>
          </p:nvSpPr>
          <p:spPr>
            <a:xfrm>
              <a:off x="549729" y="5505033"/>
              <a:ext cx="345621" cy="157066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47" name="직선 연결선 46">
              <a:extLst>
                <a:ext uri="{FF2B5EF4-FFF2-40B4-BE49-F238E27FC236}">
                  <a16:creationId xmlns:a16="http://schemas.microsoft.com/office/drawing/2014/main" id="{6AC133DC-B6ED-23B2-A848-72A04A0DD806}"/>
                </a:ext>
              </a:extLst>
            </p:cNvPr>
            <p:cNvCxnSpPr>
              <a:cxnSpLocks/>
            </p:cNvCxnSpPr>
            <p:nvPr/>
          </p:nvCxnSpPr>
          <p:spPr>
            <a:xfrm>
              <a:off x="547289" y="6327852"/>
              <a:ext cx="348061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48" name="직사각형 47">
              <a:extLst>
                <a:ext uri="{FF2B5EF4-FFF2-40B4-BE49-F238E27FC236}">
                  <a16:creationId xmlns:a16="http://schemas.microsoft.com/office/drawing/2014/main" id="{A2F3B4E0-87BF-47F7-462E-6B168BF2BA16}"/>
                </a:ext>
              </a:extLst>
            </p:cNvPr>
            <p:cNvSpPr/>
            <p:nvPr/>
          </p:nvSpPr>
          <p:spPr>
            <a:xfrm>
              <a:off x="549729" y="5759148"/>
              <a:ext cx="345621" cy="153065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49" name="직사각형 48">
              <a:extLst>
                <a:ext uri="{FF2B5EF4-FFF2-40B4-BE49-F238E27FC236}">
                  <a16:creationId xmlns:a16="http://schemas.microsoft.com/office/drawing/2014/main" id="{4692314E-2B78-609F-5B44-E093101FB1A7}"/>
                </a:ext>
              </a:extLst>
            </p:cNvPr>
            <p:cNvSpPr/>
            <p:nvPr/>
          </p:nvSpPr>
          <p:spPr>
            <a:xfrm>
              <a:off x="697119" y="6009262"/>
              <a:ext cx="198231" cy="16439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FFC00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</p:grpSp>
      <p:pic>
        <p:nvPicPr>
          <p:cNvPr id="86" name="그림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5" y="980729"/>
            <a:ext cx="5517968" cy="3345775"/>
          </a:xfrm>
          <a:prstGeom prst="rect">
            <a:avLst/>
          </a:prstGeom>
        </p:spPr>
      </p:pic>
      <p:pic>
        <p:nvPicPr>
          <p:cNvPr id="106" name="그림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2668" y="980729"/>
            <a:ext cx="5517968" cy="334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368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de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35" name="텍스트 개체 틀 3"/>
          <p:cNvSpPr txBox="1">
            <a:spLocks/>
          </p:cNvSpPr>
          <p:nvPr/>
        </p:nvSpPr>
        <p:spPr>
          <a:xfrm>
            <a:off x="438485" y="672117"/>
            <a:ext cx="11418155" cy="20682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학생 시절 나의 고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교수님께서 강의실 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C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소프트웨어 업데이트를 하라고 시키셨는데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…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언제 다 하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집에 갈 수 있을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?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) PC 1E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업데이트 시 소요시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5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교실 내 모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C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개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50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총 예상 소요 시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250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…</a:t>
            </a:r>
          </a:p>
        </p:txBody>
      </p:sp>
      <p:grpSp>
        <p:nvGrpSpPr>
          <p:cNvPr id="16" name="그룹 15"/>
          <p:cNvGrpSpPr/>
          <p:nvPr/>
        </p:nvGrpSpPr>
        <p:grpSpPr>
          <a:xfrm>
            <a:off x="6492044" y="584684"/>
            <a:ext cx="4908216" cy="2584191"/>
            <a:chOff x="5004208" y="584684"/>
            <a:chExt cx="4908216" cy="2584191"/>
          </a:xfrm>
        </p:grpSpPr>
        <p:pic>
          <p:nvPicPr>
            <p:cNvPr id="3090" name="Picture 18" descr="90+ Free Memory Stick &amp; Usb Images - Pixabay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6100" y="1889470"/>
              <a:ext cx="369359" cy="2573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4" name="Picture 22" descr="1,700+ Man Sitting In Chair In Suit Illustrations, Royalty-Free Vector  Graphics &amp; Clip Art - iStock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55" t="8577" r="22181" b="3719"/>
            <a:stretch/>
          </p:blipFill>
          <p:spPr bwMode="auto">
            <a:xfrm>
              <a:off x="5810960" y="1124745"/>
              <a:ext cx="1194810" cy="2044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8" name="Picture 26" descr="Premium Vector | Vintage clock black and white illustration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208" y="584684"/>
              <a:ext cx="762000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모서리가 둥근 직사각형 29"/>
            <p:cNvSpPr/>
            <p:nvPr/>
          </p:nvSpPr>
          <p:spPr>
            <a:xfrm>
              <a:off x="7755561" y="1797853"/>
              <a:ext cx="2156863" cy="440574"/>
            </a:xfrm>
            <a:prstGeom prst="roundRect">
              <a:avLst>
                <a:gd name="adj" fmla="val 6007"/>
              </a:avLst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2000-12-25 Internal Patch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5" name="직선 연결선 14"/>
            <p:cNvCxnSpPr>
              <a:stCxn id="30" idx="1"/>
              <a:endCxn id="3090" idx="3"/>
            </p:cNvCxnSpPr>
            <p:nvPr/>
          </p:nvCxnSpPr>
          <p:spPr>
            <a:xfrm flipH="1">
              <a:off x="7365459" y="2018140"/>
              <a:ext cx="390102" cy="0"/>
            </a:xfrm>
            <a:prstGeom prst="line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9" name="그룹 18"/>
          <p:cNvGrpSpPr/>
          <p:nvPr/>
        </p:nvGrpSpPr>
        <p:grpSpPr>
          <a:xfrm>
            <a:off x="587387" y="3281873"/>
            <a:ext cx="3132349" cy="3360729"/>
            <a:chOff x="587387" y="3317157"/>
            <a:chExt cx="3132349" cy="3360729"/>
          </a:xfrm>
        </p:grpSpPr>
        <p:pic>
          <p:nvPicPr>
            <p:cNvPr id="20" name="Picture 12" descr="Isometric computer lab. Computer education in classroom. Computer classroom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75" r="12246"/>
            <a:stretch/>
          </p:blipFill>
          <p:spPr bwMode="auto">
            <a:xfrm>
              <a:off x="587387" y="3317157"/>
              <a:ext cx="3132349" cy="2657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모서리가 둥근 직사각형 20"/>
            <p:cNvSpPr/>
            <p:nvPr/>
          </p:nvSpPr>
          <p:spPr>
            <a:xfrm>
              <a:off x="709800" y="6237312"/>
              <a:ext cx="300993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A : Requirement Engineering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4152957" y="3281873"/>
            <a:ext cx="3798086" cy="3360729"/>
            <a:chOff x="4313949" y="3317157"/>
            <a:chExt cx="3798086" cy="3360729"/>
          </a:xfrm>
        </p:grpSpPr>
        <p:pic>
          <p:nvPicPr>
            <p:cNvPr id="23" name="Picture 10" descr="Vector isometric computer lab classroom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2385" y="3317157"/>
              <a:ext cx="3381214" cy="27322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모서리가 둥근 직사각형 26"/>
            <p:cNvSpPr/>
            <p:nvPr/>
          </p:nvSpPr>
          <p:spPr>
            <a:xfrm>
              <a:off x="4313949" y="6237312"/>
              <a:ext cx="379808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B : Object-Oriented Analysis and Design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8384265" y="3281873"/>
            <a:ext cx="2958656" cy="3389705"/>
            <a:chOff x="8578516" y="3288181"/>
            <a:chExt cx="2958656" cy="3389705"/>
          </a:xfrm>
        </p:grpSpPr>
        <p:pic>
          <p:nvPicPr>
            <p:cNvPr id="29" name="Picture 14" descr="Modern technology class room with desks, chairs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8516" y="3288181"/>
              <a:ext cx="2958656" cy="2958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모서리가 둥근 직사각형 30"/>
            <p:cNvSpPr/>
            <p:nvPr/>
          </p:nvSpPr>
          <p:spPr>
            <a:xfrm>
              <a:off x="9267160" y="6237312"/>
              <a:ext cx="1581368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C : C++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1784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1706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mponent &amp; Connector View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Compon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2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86" y="944724"/>
            <a:ext cx="7886469" cy="4170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01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524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marL="0" lvl="0" indent="0" defTabSz="9144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mponent &amp; Connector View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QA REQ-QA-UCM-03, 04 Performan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항목 충족을 위하여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Poo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ork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2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00" y="1083722"/>
            <a:ext cx="9047248" cy="367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325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136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mponent &amp; Connector View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REQ-QA-UCM-07 Extensibility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항목 충족을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위하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Simple Factory patter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의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o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할 수 있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stan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동적 생성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2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Dynamic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83722"/>
            <a:ext cx="9256969" cy="305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533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5709600" cy="4929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vided Interface - Static View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6.3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Architectural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Representation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nterface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5" name="그림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1202540"/>
            <a:ext cx="3423285" cy="2548255"/>
          </a:xfrm>
          <a:prstGeom prst="rect">
            <a:avLst/>
          </a:prstGeom>
        </p:spPr>
      </p:pic>
      <p:pic>
        <p:nvPicPr>
          <p:cNvPr id="6" name="그림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4088214"/>
            <a:ext cx="3124200" cy="2437130"/>
          </a:xfrm>
          <a:prstGeom prst="rect">
            <a:avLst/>
          </a:prstGeom>
        </p:spPr>
      </p:pic>
      <p:pic>
        <p:nvPicPr>
          <p:cNvPr id="7" name="그림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452" y="5182954"/>
            <a:ext cx="2407920" cy="1342390"/>
          </a:xfrm>
          <a:prstGeom prst="rect">
            <a:avLst/>
          </a:prstGeom>
        </p:spPr>
      </p:pic>
      <p:pic>
        <p:nvPicPr>
          <p:cNvPr id="8" name="그림 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625" y="1064611"/>
            <a:ext cx="6048015" cy="4457431"/>
          </a:xfrm>
          <a:prstGeom prst="rect">
            <a:avLst/>
          </a:prstGeom>
          <a:noFill/>
        </p:spPr>
      </p:pic>
      <p:sp>
        <p:nvSpPr>
          <p:cNvPr id="9" name="텍스트 개체 틀 3"/>
          <p:cNvSpPr txBox="1">
            <a:spLocks/>
          </p:cNvSpPr>
          <p:nvPr/>
        </p:nvSpPr>
        <p:spPr>
          <a:xfrm>
            <a:off x="5555940" y="672117"/>
            <a:ext cx="5709600" cy="2344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vided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nterface - Dynamic View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623392" y="956319"/>
            <a:ext cx="295625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err="1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PackageManagement</a:t>
            </a:r>
            <a:r>
              <a:rPr lang="en-US" altLang="ko-KR" sz="10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xy : OTA Client)</a:t>
            </a:r>
            <a:endParaRPr lang="en-US" sz="1000" dirty="0"/>
          </a:p>
        </p:txBody>
      </p:sp>
      <p:sp>
        <p:nvSpPr>
          <p:cNvPr id="12" name="직사각형 11"/>
          <p:cNvSpPr/>
          <p:nvPr/>
        </p:nvSpPr>
        <p:spPr>
          <a:xfrm>
            <a:off x="623392" y="3841993"/>
            <a:ext cx="289694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err="1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DriverApplicationInterface</a:t>
            </a:r>
            <a:r>
              <a:rPr lang="en-US" altLang="ko-KR" sz="10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xy : VDA)</a:t>
            </a:r>
            <a:endParaRPr lang="en-US" sz="1000" dirty="0"/>
          </a:p>
        </p:txBody>
      </p:sp>
      <p:sp>
        <p:nvSpPr>
          <p:cNvPr id="13" name="직사각형 12"/>
          <p:cNvSpPr/>
          <p:nvPr/>
        </p:nvSpPr>
        <p:spPr>
          <a:xfrm>
            <a:off x="3829582" y="4939436"/>
            <a:ext cx="27254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dirty="0" err="1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StateManagerInterface</a:t>
            </a:r>
            <a:r>
              <a:rPr lang="en-US" altLang="ko-KR" sz="10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xy : VSM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258319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9031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업 기여 효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향후 계획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1</a:t>
            </a:r>
            <a:r>
              <a:rPr lang="en-US" altLang="ko-KR" sz="1400" baseline="300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t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Iter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검출된 이슈 수정 및 개선 및 검증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(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검토할 항목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Resource Monito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Da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C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 </a:t>
            </a:r>
            <a:r>
              <a:rPr lang="en-US" sz="1400" dirty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hlinkClick r:id="rId2" action="ppaction://hlinksldjump"/>
              </a:rPr>
              <a:t>Appendix </a:t>
            </a:r>
            <a:r>
              <a:rPr lang="en-US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hlinkClick r:id="rId2" action="ppaction://hlinksldjump"/>
              </a:rPr>
              <a:t>7. </a:t>
            </a:r>
            <a:r>
              <a:rPr lang="ko-KR" altLang="en-US" sz="14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hlinkClick r:id="rId2" action="ppaction://hlinksldjump"/>
              </a:rPr>
              <a:t>참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양산 프로세스에 따라 이슈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ix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양산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stcase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통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uirem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오류 분석 및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WG-UCM Requirem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ibution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esson &amp; Learn</a:t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Projec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선정의 중요성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lternativ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작성의 중요성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설계 검증의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중요성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7. </a:t>
            </a: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Project </a:t>
            </a:r>
            <a:r>
              <a:rPr kumimoji="1" lang="en-US" altLang="ko-KR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Restrospec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238602"/>
              </p:ext>
            </p:extLst>
          </p:nvPr>
        </p:nvGraphicFramePr>
        <p:xfrm>
          <a:off x="695400" y="976692"/>
          <a:ext cx="11017224" cy="2560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04156">
                  <a:extLst>
                    <a:ext uri="{9D8B030D-6E8A-4147-A177-3AD203B41FA5}">
                      <a16:colId xmlns:a16="http://schemas.microsoft.com/office/drawing/2014/main" val="1197659203"/>
                    </a:ext>
                  </a:extLst>
                </a:gridCol>
                <a:gridCol w="4806534">
                  <a:extLst>
                    <a:ext uri="{9D8B030D-6E8A-4147-A177-3AD203B41FA5}">
                      <a16:colId xmlns:a16="http://schemas.microsoft.com/office/drawing/2014/main" val="2602705436"/>
                    </a:ext>
                  </a:extLst>
                </a:gridCol>
                <a:gridCol w="4806534">
                  <a:extLst>
                    <a:ext uri="{9D8B030D-6E8A-4147-A177-3AD203B41FA5}">
                      <a16:colId xmlns:a16="http://schemas.microsoft.com/office/drawing/2014/main" val="1629548476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솔루션 종류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ARA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(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자사 솔루션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Vec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(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독일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</a:t>
                      </a:r>
                      <a:r>
                        <a:rPr lang="en-US" sz="1200" baseline="300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Party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솔루션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40258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포함모듈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om, LG SOME/IP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xecution Manag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latform Health Management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iagnostics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(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제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graphy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Identify Access Management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sistency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o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ara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::com, Vector SOME/IP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Execution Manag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Diagnostics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UCM (UCM Master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제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Cryptography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Persistency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Log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97167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비용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약 </a:t>
                      </a:r>
                      <a:r>
                        <a:rPr lang="en-US" altLang="ko-KR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12</a:t>
                      </a:r>
                      <a:r>
                        <a:rPr lang="ko-KR" altLang="en-US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억</a:t>
                      </a:r>
                      <a:endParaRPr lang="en-US" sz="1200" dirty="0" smtClean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약 </a:t>
                      </a:r>
                      <a:r>
                        <a:rPr lang="en-US" altLang="ko-KR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33</a:t>
                      </a:r>
                      <a:r>
                        <a:rPr lang="ko-KR" altLang="en-US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억 </a:t>
                      </a:r>
                      <a:r>
                        <a:rPr lang="en-US" altLang="ko-KR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(</a:t>
                      </a:r>
                      <a:r>
                        <a:rPr lang="ko-KR" altLang="en-US" sz="1200" dirty="0" err="1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모듈당</a:t>
                      </a:r>
                      <a:r>
                        <a:rPr lang="ko-KR" altLang="en-US" sz="1200" baseline="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 가격은 정확하지 않으나</a:t>
                      </a:r>
                      <a:r>
                        <a:rPr lang="en-US" altLang="ko-KR" sz="1200" baseline="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, UCM Master </a:t>
                      </a:r>
                      <a:r>
                        <a:rPr lang="ko-KR" altLang="en-US" sz="1200" baseline="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포함 시 </a:t>
                      </a:r>
                      <a:r>
                        <a:rPr lang="en-US" altLang="ko-KR" sz="1200" baseline="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40</a:t>
                      </a:r>
                      <a:r>
                        <a:rPr lang="ko-KR" altLang="en-US" sz="1200" baseline="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억 예상</a:t>
                      </a:r>
                      <a:r>
                        <a:rPr lang="en-US" altLang="ko-KR" sz="1200" baseline="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)</a:t>
                      </a:r>
                      <a:endParaRPr lang="en-US" sz="1200" dirty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642121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비고</a:t>
                      </a:r>
                      <a:endParaRPr lang="en-US" sz="1200" dirty="0">
                        <a:solidFill>
                          <a:schemeClr val="tx1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Engineering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서비스 비용 </a:t>
                      </a:r>
                      <a:r>
                        <a:rPr lang="ko-KR" altLang="en-US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포함</a:t>
                      </a:r>
                      <a:endParaRPr lang="en-US" sz="1200" dirty="0" smtClean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Software Engineering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서비스 비용 </a:t>
                      </a:r>
                      <a:r>
                        <a:rPr lang="ko-KR" altLang="en-US" sz="1200" dirty="0" smtClean="0">
                          <a:solidFill>
                            <a:srgbClr val="0000FF"/>
                          </a:solidFill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</a:rPr>
                        <a:t>불 포함</a:t>
                      </a:r>
                      <a:endParaRPr lang="en-US" sz="1200" dirty="0" smtClean="0">
                        <a:solidFill>
                          <a:srgbClr val="0000FF"/>
                        </a:solidFill>
                        <a:latin typeface="LG Smart UI SemiBold" panose="020B0700000101010101" pitchFamily="50" charset="-127"/>
                        <a:ea typeface="LG Smart UI SemiBold" panose="020B0700000101010101" pitchFamily="50" charset="-127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477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6672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637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</a:t>
            </a: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1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. Non AUTOSAR Adaptive </a:t>
            </a:r>
            <a:r>
              <a:rPr lang="ko-KR" altLang="en-US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영역의 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oftware Update</a:t>
            </a:r>
            <a:endParaRPr lang="en-US" altLang="ko-KR" sz="18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10341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Non AUTOSAR Adaptiv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영역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Platform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Classic Platform &amp; AUTOSAR Adaptive Platform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통칭하는 표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Classic Platform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하기 위해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AN(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리선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 Protocol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lashing Adapter App.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이 별도로 필요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Adaptive UCM Requirem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는 이러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cenario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소개되어 있지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secase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없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cop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제외함</a:t>
            </a: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pSp>
        <p:nvGrpSpPr>
          <p:cNvPr id="88" name="그룹 87"/>
          <p:cNvGrpSpPr/>
          <p:nvPr/>
        </p:nvGrpSpPr>
        <p:grpSpPr>
          <a:xfrm>
            <a:off x="803412" y="1808820"/>
            <a:ext cx="6747827" cy="4793033"/>
            <a:chOff x="1883221" y="1628754"/>
            <a:chExt cx="6747827" cy="4793033"/>
          </a:xfrm>
        </p:grpSpPr>
        <p:grpSp>
          <p:nvGrpSpPr>
            <p:cNvPr id="89" name="그룹 88"/>
            <p:cNvGrpSpPr/>
            <p:nvPr/>
          </p:nvGrpSpPr>
          <p:grpSpPr>
            <a:xfrm>
              <a:off x="1883221" y="1628754"/>
              <a:ext cx="6747827" cy="2840120"/>
              <a:chOff x="1883221" y="1628754"/>
              <a:chExt cx="6747827" cy="2840120"/>
            </a:xfrm>
          </p:grpSpPr>
          <p:sp>
            <p:nvSpPr>
              <p:cNvPr id="97" name="직사각형 96">
                <a:extLst>
                  <a:ext uri="{FF2B5EF4-FFF2-40B4-BE49-F238E27FC236}">
                    <a16:creationId xmlns:a16="http://schemas.microsoft.com/office/drawing/2014/main" id="{AD948584-70D2-9812-97BF-C67F561CC423}"/>
                  </a:ext>
                </a:extLst>
              </p:cNvPr>
              <p:cNvSpPr/>
              <p:nvPr/>
            </p:nvSpPr>
            <p:spPr>
              <a:xfrm>
                <a:off x="3876612" y="2241722"/>
                <a:ext cx="1240971" cy="419100"/>
              </a:xfrm>
              <a:prstGeom prst="rect">
                <a:avLst/>
              </a:prstGeom>
              <a:solidFill>
                <a:srgbClr val="70AD47"/>
              </a:solidFill>
              <a:ln w="12700" cap="flat" cmpd="sng" algn="ctr">
                <a:solidFill>
                  <a:srgbClr val="70AD47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OTA Client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98" name="직사각형 97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3876612" y="3040973"/>
                <a:ext cx="1240971" cy="4191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UCM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Master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99" name="직사각형 98">
                <a:extLst>
                  <a:ext uri="{FF2B5EF4-FFF2-40B4-BE49-F238E27FC236}">
                    <a16:creationId xmlns:a16="http://schemas.microsoft.com/office/drawing/2014/main" id="{64C3E2E0-E370-51E2-45FE-DE90FEC251E9}"/>
                  </a:ext>
                </a:extLst>
              </p:cNvPr>
              <p:cNvSpPr/>
              <p:nvPr/>
            </p:nvSpPr>
            <p:spPr>
              <a:xfrm>
                <a:off x="3876612" y="3840224"/>
                <a:ext cx="1240971" cy="4191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UCM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ubordinate</a:t>
                </a:r>
              </a:p>
            </p:txBody>
          </p:sp>
          <p:cxnSp>
            <p:nvCxnSpPr>
              <p:cNvPr id="100" name="직선 연결선 99">
                <a:extLst>
                  <a:ext uri="{FF2B5EF4-FFF2-40B4-BE49-F238E27FC236}">
                    <a16:creationId xmlns:a16="http://schemas.microsoft.com/office/drawing/2014/main" id="{61C279AC-B23D-C7EE-899B-C47E5BC19118}"/>
                  </a:ext>
                </a:extLst>
              </p:cNvPr>
              <p:cNvCxnSpPr>
                <a:stCxn id="97" idx="2"/>
                <a:endCxn id="98" idx="0"/>
              </p:cNvCxnSpPr>
              <p:nvPr/>
            </p:nvCxnSpPr>
            <p:spPr>
              <a:xfrm>
                <a:off x="4497098" y="2660822"/>
                <a:ext cx="0" cy="380151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cxnSp>
            <p:nvCxnSpPr>
              <p:cNvPr id="101" name="직선 연결선 100">
                <a:extLst>
                  <a:ext uri="{FF2B5EF4-FFF2-40B4-BE49-F238E27FC236}">
                    <a16:creationId xmlns:a16="http://schemas.microsoft.com/office/drawing/2014/main" id="{F7510B22-F7CB-4800-FD8A-E124B4FABF2B}"/>
                  </a:ext>
                </a:extLst>
              </p:cNvPr>
              <p:cNvCxnSpPr>
                <a:cxnSpLocks/>
                <a:stCxn id="98" idx="2"/>
                <a:endCxn id="99" idx="0"/>
              </p:cNvCxnSpPr>
              <p:nvPr/>
            </p:nvCxnSpPr>
            <p:spPr>
              <a:xfrm>
                <a:off x="4497098" y="3460073"/>
                <a:ext cx="0" cy="380151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cxnSp>
            <p:nvCxnSpPr>
              <p:cNvPr id="102" name="연결선: 꺾임 1054">
                <a:extLst>
                  <a:ext uri="{FF2B5EF4-FFF2-40B4-BE49-F238E27FC236}">
                    <a16:creationId xmlns:a16="http://schemas.microsoft.com/office/drawing/2014/main" id="{9010E296-6010-21BB-CCA1-B1315093C8C8}"/>
                  </a:ext>
                </a:extLst>
              </p:cNvPr>
              <p:cNvCxnSpPr>
                <a:cxnSpLocks/>
                <a:stCxn id="98" idx="3"/>
                <a:endCxn id="111" idx="1"/>
              </p:cNvCxnSpPr>
              <p:nvPr/>
            </p:nvCxnSpPr>
            <p:spPr>
              <a:xfrm flipV="1">
                <a:off x="5117583" y="2449050"/>
                <a:ext cx="1826389" cy="801473"/>
              </a:xfrm>
              <a:prstGeom prst="bentConnector3">
                <a:avLst>
                  <a:gd name="adj1" fmla="val 50000"/>
                </a:avLst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E0DE0A92-E57D-C040-1A63-875B659BBBE3}"/>
                  </a:ext>
                </a:extLst>
              </p:cNvPr>
              <p:cNvSpPr/>
              <p:nvPr/>
            </p:nvSpPr>
            <p:spPr>
              <a:xfrm>
                <a:off x="1883221" y="1628754"/>
                <a:ext cx="3680466" cy="2840120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dash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ECU A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(Adaptive AUTOSAR Machine)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grpSp>
            <p:nvGrpSpPr>
              <p:cNvPr id="104" name="그룹 103"/>
              <p:cNvGrpSpPr/>
              <p:nvPr/>
            </p:nvGrpSpPr>
            <p:grpSpPr>
              <a:xfrm>
                <a:off x="6497868" y="1628754"/>
                <a:ext cx="2133180" cy="1239395"/>
                <a:chOff x="6469298" y="3229478"/>
                <a:chExt cx="2133180" cy="1239395"/>
              </a:xfrm>
            </p:grpSpPr>
            <p:sp>
              <p:nvSpPr>
                <p:cNvPr id="111" name="직사각형 110">
                  <a:extLst>
                    <a:ext uri="{FF2B5EF4-FFF2-40B4-BE49-F238E27FC236}">
                      <a16:creationId xmlns:a16="http://schemas.microsoft.com/office/drawing/2014/main" id="{B31F5B99-00D3-2E97-5CF1-ADF8A47416B8}"/>
                    </a:ext>
                  </a:extLst>
                </p:cNvPr>
                <p:cNvSpPr/>
                <p:nvPr/>
              </p:nvSpPr>
              <p:spPr>
                <a:xfrm>
                  <a:off x="6915402" y="3840224"/>
                  <a:ext cx="1240971" cy="419100"/>
                </a:xfrm>
                <a:prstGeom prst="rect">
                  <a:avLst/>
                </a:prstGeom>
                <a:gradFill rotWithShape="1">
                  <a:gsLst>
                    <a:gs pos="0">
                      <a:srgbClr val="ED7D31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ED7D31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ED7D31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ED7D3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UCM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Subordinate</a:t>
                  </a:r>
                </a:p>
              </p:txBody>
            </p:sp>
            <p:sp>
              <p:nvSpPr>
                <p:cNvPr id="112" name="직사각형 111">
                  <a:extLst>
                    <a:ext uri="{FF2B5EF4-FFF2-40B4-BE49-F238E27FC236}">
                      <a16:creationId xmlns:a16="http://schemas.microsoft.com/office/drawing/2014/main" id="{97BD113A-AB65-5393-B5D5-EC597016D970}"/>
                    </a:ext>
                  </a:extLst>
                </p:cNvPr>
                <p:cNvSpPr/>
                <p:nvPr/>
              </p:nvSpPr>
              <p:spPr>
                <a:xfrm>
                  <a:off x="6469298" y="3229478"/>
                  <a:ext cx="2133180" cy="1239395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dash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ECU B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(Adaptive AUTOSAR Machine)</a:t>
                  </a:r>
                  <a:endPara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endParaRPr>
                </a:p>
              </p:txBody>
            </p:sp>
          </p:grpSp>
          <p:sp>
            <p:nvSpPr>
              <p:cNvPr id="105" name="직사각형 104">
                <a:extLst>
                  <a:ext uri="{FF2B5EF4-FFF2-40B4-BE49-F238E27FC236}">
                    <a16:creationId xmlns:a16="http://schemas.microsoft.com/office/drawing/2014/main" id="{AD948584-70D2-9812-97BF-C67F561CC423}"/>
                  </a:ext>
                </a:extLst>
              </p:cNvPr>
              <p:cNvSpPr/>
              <p:nvPr/>
            </p:nvSpPr>
            <p:spPr>
              <a:xfrm>
                <a:off x="2330098" y="2231952"/>
                <a:ext cx="1240971" cy="419100"/>
              </a:xfrm>
              <a:prstGeom prst="rect">
                <a:avLst/>
              </a:prstGeom>
              <a:solidFill>
                <a:srgbClr val="70AD47"/>
              </a:solidFill>
              <a:ln w="12700" cap="flat" cmpd="sng" algn="ctr">
                <a:solidFill>
                  <a:srgbClr val="70AD47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Flashing App.</a:t>
                </a: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grpSp>
            <p:nvGrpSpPr>
              <p:cNvPr id="106" name="그룹 105"/>
              <p:cNvGrpSpPr/>
              <p:nvPr/>
            </p:nvGrpSpPr>
            <p:grpSpPr>
              <a:xfrm>
                <a:off x="6497868" y="3229479"/>
                <a:ext cx="2133180" cy="1239395"/>
                <a:chOff x="6469298" y="3229478"/>
                <a:chExt cx="2133180" cy="1239395"/>
              </a:xfrm>
            </p:grpSpPr>
            <p:sp>
              <p:nvSpPr>
                <p:cNvPr id="109" name="직사각형 108">
                  <a:extLst>
                    <a:ext uri="{FF2B5EF4-FFF2-40B4-BE49-F238E27FC236}">
                      <a16:creationId xmlns:a16="http://schemas.microsoft.com/office/drawing/2014/main" id="{B31F5B99-00D3-2E97-5CF1-ADF8A47416B8}"/>
                    </a:ext>
                  </a:extLst>
                </p:cNvPr>
                <p:cNvSpPr/>
                <p:nvPr/>
              </p:nvSpPr>
              <p:spPr>
                <a:xfrm>
                  <a:off x="6915402" y="3840224"/>
                  <a:ext cx="1240971" cy="419100"/>
                </a:xfrm>
                <a:prstGeom prst="rect">
                  <a:avLst/>
                </a:prstGeom>
                <a:gradFill rotWithShape="1">
                  <a:gsLst>
                    <a:gs pos="0">
                      <a:srgbClr val="4472C4">
                        <a:lumMod val="110000"/>
                        <a:satMod val="105000"/>
                        <a:tint val="67000"/>
                      </a:srgbClr>
                    </a:gs>
                    <a:gs pos="50000">
                      <a:srgbClr val="4472C4">
                        <a:lumMod val="105000"/>
                        <a:satMod val="103000"/>
                        <a:tint val="73000"/>
                      </a:srgbClr>
                    </a:gs>
                    <a:gs pos="100000">
                      <a:srgbClr val="4472C4">
                        <a:lumMod val="105000"/>
                        <a:satMod val="109000"/>
                        <a:tint val="81000"/>
                      </a:srgbClr>
                    </a:gs>
                  </a:gsLst>
                  <a:lin ang="5400000" scaled="0"/>
                </a:gradFill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Update App.</a:t>
                  </a:r>
                </a:p>
              </p:txBody>
            </p:sp>
            <p:sp>
              <p:nvSpPr>
                <p:cNvPr id="110" name="직사각형 109">
                  <a:extLst>
                    <a:ext uri="{FF2B5EF4-FFF2-40B4-BE49-F238E27FC236}">
                      <a16:creationId xmlns:a16="http://schemas.microsoft.com/office/drawing/2014/main" id="{97BD113A-AB65-5393-B5D5-EC597016D970}"/>
                    </a:ext>
                  </a:extLst>
                </p:cNvPr>
                <p:cNvSpPr/>
                <p:nvPr/>
              </p:nvSpPr>
              <p:spPr>
                <a:xfrm>
                  <a:off x="6469298" y="3229478"/>
                  <a:ext cx="2133180" cy="1239395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dash"/>
                  <a:miter lim="800000"/>
                </a:ln>
                <a:effectLst/>
              </p:spPr>
              <p:txBody>
                <a:bodyPr rtlCol="0" anchor="t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ECU C</a:t>
                  </a: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G Smart UI SemiBold" panose="020B0700000101010101" pitchFamily="50" charset="-127"/>
                      <a:ea typeface="LG Smart UI SemiBold" panose="020B0700000101010101" pitchFamily="50" charset="-127"/>
                      <a:cs typeface="+mn-cs"/>
                    </a:rPr>
                    <a:t>(Classic AUTOSAR Machine)</a:t>
                  </a:r>
                  <a:endParaRPr kumimoji="0" lang="ko-KR" alt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endParaRPr>
                </a:p>
              </p:txBody>
            </p:sp>
          </p:grpSp>
          <p:cxnSp>
            <p:nvCxnSpPr>
              <p:cNvPr id="107" name="연결선: 꺾임 1054">
                <a:extLst>
                  <a:ext uri="{FF2B5EF4-FFF2-40B4-BE49-F238E27FC236}">
                    <a16:creationId xmlns:a16="http://schemas.microsoft.com/office/drawing/2014/main" id="{9010E296-6010-21BB-CCA1-B1315093C8C8}"/>
                  </a:ext>
                </a:extLst>
              </p:cNvPr>
              <p:cNvCxnSpPr>
                <a:cxnSpLocks/>
                <a:stCxn id="98" idx="1"/>
                <a:endCxn id="105" idx="3"/>
              </p:cNvCxnSpPr>
              <p:nvPr/>
            </p:nvCxnSpPr>
            <p:spPr>
              <a:xfrm rot="10800000">
                <a:off x="3571070" y="2441503"/>
                <a:ext cx="305543" cy="809021"/>
              </a:xfrm>
              <a:prstGeom prst="bentConnector3">
                <a:avLst>
                  <a:gd name="adj1" fmla="val 50000"/>
                </a:avLst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cxnSp>
            <p:nvCxnSpPr>
              <p:cNvPr id="108" name="연결선: 꺾임 1054">
                <a:extLst>
                  <a:ext uri="{FF2B5EF4-FFF2-40B4-BE49-F238E27FC236}">
                    <a16:creationId xmlns:a16="http://schemas.microsoft.com/office/drawing/2014/main" id="{9010E296-6010-21BB-CCA1-B1315093C8C8}"/>
                  </a:ext>
                </a:extLst>
              </p:cNvPr>
              <p:cNvCxnSpPr>
                <a:cxnSpLocks/>
                <a:stCxn id="105" idx="2"/>
                <a:endCxn id="109" idx="2"/>
              </p:cNvCxnSpPr>
              <p:nvPr/>
            </p:nvCxnSpPr>
            <p:spPr>
              <a:xfrm rot="16200000" flipH="1">
                <a:off x="4453385" y="1148251"/>
                <a:ext cx="1608273" cy="4613874"/>
              </a:xfrm>
              <a:prstGeom prst="bentConnector3">
                <a:avLst>
                  <a:gd name="adj1" fmla="val 129769"/>
                </a:avLst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</p:grpSp>
        <p:grpSp>
          <p:nvGrpSpPr>
            <p:cNvPr id="90" name="그룹 89"/>
            <p:cNvGrpSpPr/>
            <p:nvPr/>
          </p:nvGrpSpPr>
          <p:grpSpPr>
            <a:xfrm>
              <a:off x="1883221" y="5081842"/>
              <a:ext cx="6747827" cy="1339945"/>
              <a:chOff x="1883221" y="5081842"/>
              <a:chExt cx="6747827" cy="1339945"/>
            </a:xfrm>
          </p:grpSpPr>
          <p:sp>
            <p:nvSpPr>
              <p:cNvPr id="91" name="직사각형 90">
                <a:extLst>
                  <a:ext uri="{FF2B5EF4-FFF2-40B4-BE49-F238E27FC236}">
                    <a16:creationId xmlns:a16="http://schemas.microsoft.com/office/drawing/2014/main" id="{F4D0266C-7BF1-04E7-6E17-C87CE3B5157A}"/>
                  </a:ext>
                </a:extLst>
              </p:cNvPr>
              <p:cNvSpPr/>
              <p:nvPr/>
            </p:nvSpPr>
            <p:spPr>
              <a:xfrm>
                <a:off x="1883221" y="5081842"/>
                <a:ext cx="6747827" cy="1339945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Key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Adaptive AUTOSAR Functional Cluster                     Adaptive AUTOSAR Application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Classic AUTOSAR Application                                   Physical Boundary</a:t>
                </a:r>
              </a:p>
              <a:p>
                <a:pPr marL="0" marR="0" lvl="0" indent="0" defTabSz="914400" eaLnBrk="1" fontAlgn="auto" latinLnBrk="0" hangingPunct="1">
                  <a:lnSpc>
                    <a:spcPct val="16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             Data flow</a:t>
                </a:r>
              </a:p>
            </p:txBody>
          </p:sp>
          <p:sp>
            <p:nvSpPr>
              <p:cNvPr id="92" name="직사각형 91">
                <a:extLst>
                  <a:ext uri="{FF2B5EF4-FFF2-40B4-BE49-F238E27FC236}">
                    <a16:creationId xmlns:a16="http://schemas.microsoft.com/office/drawing/2014/main" id="{A1CF295E-6B3F-2766-45CA-F09B50CFCE7C}"/>
                  </a:ext>
                </a:extLst>
              </p:cNvPr>
              <p:cNvSpPr/>
              <p:nvPr/>
            </p:nvSpPr>
            <p:spPr>
              <a:xfrm>
                <a:off x="1997803" y="5501351"/>
                <a:ext cx="360000" cy="180000"/>
              </a:xfrm>
              <a:prstGeom prst="rect">
                <a:avLst/>
              </a:prstGeom>
              <a:gradFill rotWithShape="1">
                <a:gsLst>
                  <a:gs pos="0">
                    <a:srgbClr val="ED7D31">
                      <a:lumMod val="110000"/>
                      <a:satMod val="105000"/>
                      <a:tint val="67000"/>
                    </a:srgbClr>
                  </a:gs>
                  <a:gs pos="50000">
                    <a:srgbClr val="ED7D31">
                      <a:lumMod val="105000"/>
                      <a:satMod val="103000"/>
                      <a:tint val="73000"/>
                    </a:srgbClr>
                  </a:gs>
                  <a:gs pos="100000">
                    <a:srgbClr val="ED7D31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ED7D3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endParaRPr>
              </a:p>
            </p:txBody>
          </p:sp>
          <p:cxnSp>
            <p:nvCxnSpPr>
              <p:cNvPr id="93" name="직선 연결선 92">
                <a:extLst>
                  <a:ext uri="{FF2B5EF4-FFF2-40B4-BE49-F238E27FC236}">
                    <a16:creationId xmlns:a16="http://schemas.microsoft.com/office/drawing/2014/main" id="{6AC133DC-B6ED-23B2-A848-72A04A0DD80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97803" y="6173859"/>
                <a:ext cx="348061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ysDash"/>
                <a:miter lim="800000"/>
                <a:tailEnd type="stealth"/>
              </a:ln>
              <a:effectLst/>
            </p:spPr>
          </p:cxnSp>
          <p:sp>
            <p:nvSpPr>
              <p:cNvPr id="94" name="직사각형 93">
                <a:extLst>
                  <a:ext uri="{FF2B5EF4-FFF2-40B4-BE49-F238E27FC236}">
                    <a16:creationId xmlns:a16="http://schemas.microsoft.com/office/drawing/2014/main" id="{A2F3B4E0-87BF-47F7-462E-6B168BF2BA16}"/>
                  </a:ext>
                </a:extLst>
              </p:cNvPr>
              <p:cNvSpPr/>
              <p:nvPr/>
            </p:nvSpPr>
            <p:spPr>
              <a:xfrm>
                <a:off x="5452203" y="5501351"/>
                <a:ext cx="360000" cy="180000"/>
              </a:xfrm>
              <a:prstGeom prst="rect">
                <a:avLst/>
              </a:prstGeom>
              <a:solidFill>
                <a:srgbClr val="70AD47"/>
              </a:solidFill>
              <a:ln w="12700" cap="flat" cmpd="sng" algn="ctr">
                <a:solidFill>
                  <a:srgbClr val="70AD47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95" name="직사각형 94"/>
              <p:cNvSpPr/>
              <p:nvPr/>
            </p:nvSpPr>
            <p:spPr>
              <a:xfrm>
                <a:off x="5452203" y="5804478"/>
                <a:ext cx="360000" cy="180000"/>
              </a:xfrm>
              <a:prstGeom prst="rect">
                <a:avLst/>
              </a:prstGeom>
              <a:noFill/>
              <a:ln w="12700" cap="flat" cmpd="sng" algn="ctr">
                <a:solidFill>
                  <a:sysClr val="windowText" lastClr="000000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96" name="직사각형 95">
                <a:extLst>
                  <a:ext uri="{FF2B5EF4-FFF2-40B4-BE49-F238E27FC236}">
                    <a16:creationId xmlns:a16="http://schemas.microsoft.com/office/drawing/2014/main" id="{B31F5B99-00D3-2E97-5CF1-ADF8A47416B8}"/>
                  </a:ext>
                </a:extLst>
              </p:cNvPr>
              <p:cNvSpPr/>
              <p:nvPr/>
            </p:nvSpPr>
            <p:spPr>
              <a:xfrm>
                <a:off x="1997803" y="5804478"/>
                <a:ext cx="360000" cy="180000"/>
              </a:xfrm>
              <a:prstGeom prst="rect">
                <a:avLst/>
              </a:prstGeom>
              <a:gradFill rotWithShape="1">
                <a:gsLst>
                  <a:gs pos="0">
                    <a:srgbClr val="4472C4">
                      <a:lumMod val="110000"/>
                      <a:satMod val="105000"/>
                      <a:tint val="67000"/>
                    </a:srgbClr>
                  </a:gs>
                  <a:gs pos="50000">
                    <a:srgbClr val="4472C4">
                      <a:lumMod val="105000"/>
                      <a:satMod val="103000"/>
                      <a:tint val="73000"/>
                    </a:srgbClr>
                  </a:gs>
                  <a:gs pos="100000">
                    <a:srgbClr val="4472C4">
                      <a:lumMod val="105000"/>
                      <a:satMod val="109000"/>
                      <a:tint val="81000"/>
                    </a:srgbClr>
                  </a:gs>
                </a:gsLst>
                <a:lin ang="5400000" scaled="0"/>
              </a:gradFill>
              <a:ln w="635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</p:grpSp>
      <p:sp>
        <p:nvSpPr>
          <p:cNvPr id="2" name="오른쪽 화살표 1"/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5876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637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2. System Context View </a:t>
            </a:r>
            <a:r>
              <a:rPr lang="ko-KR" altLang="en-US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기반 조직간 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R&amp;R</a:t>
            </a:r>
            <a:endParaRPr lang="en-US" altLang="ko-KR" sz="18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각 모듈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ponsibility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731813" y="978978"/>
            <a:ext cx="8208503" cy="5690382"/>
            <a:chOff x="1758459" y="914400"/>
            <a:chExt cx="8208503" cy="5690382"/>
          </a:xfrm>
        </p:grpSpPr>
        <p:sp>
          <p:nvSpPr>
            <p:cNvPr id="58" name="직사각형 57"/>
            <p:cNvSpPr/>
            <p:nvPr/>
          </p:nvSpPr>
          <p:spPr>
            <a:xfrm>
              <a:off x="1758459" y="914400"/>
              <a:ext cx="8208502" cy="4121834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LG</a:t>
              </a:r>
              <a:r>
                <a:rPr kumimoji="0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전자 수주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ECU : </a:t>
              </a:r>
              <a:r>
                <a:rPr kumimoji="0" lang="en-US" altLang="ko-KR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Telemetics</a:t>
              </a:r>
              <a:endPara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2764957" y="4579764"/>
              <a:ext cx="359585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</a:rPr>
                <a:t>(Responsibility : CTO Automotive Platform Task)</a:t>
              </a:r>
              <a:endPara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4477754" y="383632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3178391" y="383632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2" name="직사각형 61"/>
            <p:cNvSpPr/>
            <p:nvPr/>
          </p:nvSpPr>
          <p:spPr>
            <a:xfrm>
              <a:off x="5772708" y="383632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3" name="직사각형 62"/>
            <p:cNvSpPr/>
            <p:nvPr/>
          </p:nvSpPr>
          <p:spPr>
            <a:xfrm>
              <a:off x="3178391" y="2140967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5772708" y="2140967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8367025" y="2140967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6767090" y="416547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7367314" y="4165473"/>
              <a:ext cx="180000" cy="180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cxnSp>
          <p:nvCxnSpPr>
            <p:cNvPr id="68" name="직선 연결선 67"/>
            <p:cNvCxnSpPr>
              <a:stCxn id="61" idx="0"/>
              <a:endCxn id="63" idx="2"/>
            </p:cNvCxnSpPr>
            <p:nvPr/>
          </p:nvCxnSpPr>
          <p:spPr>
            <a:xfrm flipV="1">
              <a:off x="3268391" y="2320967"/>
              <a:ext cx="0" cy="1515356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9" name="직선 연결선 68"/>
            <p:cNvCxnSpPr>
              <a:stCxn id="66" idx="3"/>
              <a:endCxn id="67" idx="1"/>
            </p:cNvCxnSpPr>
            <p:nvPr/>
          </p:nvCxnSpPr>
          <p:spPr>
            <a:xfrm>
              <a:off x="6947090" y="4255473"/>
              <a:ext cx="420224" cy="0"/>
            </a:xfrm>
            <a:prstGeom prst="line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0" name="꺾인 연결선 69"/>
            <p:cNvCxnSpPr>
              <a:stCxn id="60" idx="0"/>
              <a:endCxn id="65" idx="2"/>
            </p:cNvCxnSpPr>
            <p:nvPr/>
          </p:nvCxnSpPr>
          <p:spPr>
            <a:xfrm rot="5400000" flipH="1" flipV="1">
              <a:off x="5754711" y="1134010"/>
              <a:ext cx="1515356" cy="3889271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71" name="직사각형 70"/>
            <p:cNvSpPr/>
            <p:nvPr/>
          </p:nvSpPr>
          <p:spPr>
            <a:xfrm>
              <a:off x="7058244" y="4579764"/>
              <a:ext cx="27975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</a:rPr>
                <a:t>(Responsibility : VS Core Framework)</a:t>
              </a:r>
              <a:endPara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</a:endParaRPr>
            </a:p>
          </p:txBody>
        </p:sp>
        <p:cxnSp>
          <p:nvCxnSpPr>
            <p:cNvPr id="72" name="직선 연결선 71"/>
            <p:cNvCxnSpPr>
              <a:stCxn id="62" idx="0"/>
              <a:endCxn id="64" idx="2"/>
            </p:cNvCxnSpPr>
            <p:nvPr/>
          </p:nvCxnSpPr>
          <p:spPr>
            <a:xfrm flipV="1">
              <a:off x="5862708" y="2320967"/>
              <a:ext cx="0" cy="1515356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73" name="직사각형 72"/>
            <p:cNvSpPr/>
            <p:nvPr/>
          </p:nvSpPr>
          <p:spPr>
            <a:xfrm>
              <a:off x="4369354" y="1314593"/>
              <a:ext cx="29867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</a:rPr>
                <a:t>(Responsibility : VS OTA &amp; Update Unit)</a:t>
              </a:r>
              <a:endParaRPr kumimoji="0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</a:endParaRPr>
            </a:p>
          </p:txBody>
        </p:sp>
        <p:sp>
          <p:nvSpPr>
            <p:cNvPr id="74" name="직사각형 73">
              <a:extLst>
                <a:ext uri="{FF2B5EF4-FFF2-40B4-BE49-F238E27FC236}">
                  <a16:creationId xmlns:a16="http://schemas.microsoft.com/office/drawing/2014/main" id="{563D3819-47AB-AFDA-3922-6AFCE3C612DA}"/>
                </a:ext>
              </a:extLst>
            </p:cNvPr>
            <p:cNvSpPr/>
            <p:nvPr/>
          </p:nvSpPr>
          <p:spPr>
            <a:xfrm>
              <a:off x="1758460" y="5121375"/>
              <a:ext cx="8208502" cy="1483407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Key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Adaptive AUTOSAR Functional Cluster, Responsibility : 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CTO / Automotive Platform Task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Adaptive AUTOSAR Functional Cluster, Responsibility : VS / Core Framework Unit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Adaptive AUTOSAR Application, Responsibility : VS / OTA &amp; Update Unit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communication port (</a:t>
              </a:r>
              <a:r>
                <a:rPr kumimoji="0" lang="en-US" altLang="ko-KR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ara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::com)</a:t>
              </a:r>
            </a:p>
            <a:p>
              <a:pPr marL="0" marR="0" lvl="0" indent="0" defTabSz="914400" eaLnBrk="1" fontAlgn="auto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aytona" panose="020B0604020202020204" pitchFamily="34" charset="0"/>
                  <a:ea typeface="맑은 고딕" panose="020B0503020000020004" pitchFamily="50" charset="-127"/>
                  <a:cs typeface="+mn-cs"/>
                </a:rPr>
                <a:t>             Data flow</a:t>
              </a:r>
            </a:p>
          </p:txBody>
        </p:sp>
        <p:sp>
          <p:nvSpPr>
            <p:cNvPr id="75" name="직사각형 74">
              <a:extLst>
                <a:ext uri="{FF2B5EF4-FFF2-40B4-BE49-F238E27FC236}">
                  <a16:creationId xmlns:a16="http://schemas.microsoft.com/office/drawing/2014/main" id="{D3B2E71E-3EAC-8284-B9F9-C8DA06C9F8F4}"/>
                </a:ext>
              </a:extLst>
            </p:cNvPr>
            <p:cNvSpPr/>
            <p:nvPr/>
          </p:nvSpPr>
          <p:spPr>
            <a:xfrm>
              <a:off x="1858805" y="5482209"/>
              <a:ext cx="345621" cy="157066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 panose="020B0604030500040204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cxnSp>
          <p:nvCxnSpPr>
            <p:cNvPr id="76" name="직선 연결선 75">
              <a:extLst>
                <a:ext uri="{FF2B5EF4-FFF2-40B4-BE49-F238E27FC236}">
                  <a16:creationId xmlns:a16="http://schemas.microsoft.com/office/drawing/2014/main" id="{198E82D6-9B8E-C4F4-9A8A-D7AEAD3521BF}"/>
                </a:ext>
              </a:extLst>
            </p:cNvPr>
            <p:cNvCxnSpPr>
              <a:cxnSpLocks/>
            </p:cNvCxnSpPr>
            <p:nvPr/>
          </p:nvCxnSpPr>
          <p:spPr>
            <a:xfrm>
              <a:off x="1850593" y="6530110"/>
              <a:ext cx="348061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  <a:tailEnd type="none"/>
            </a:ln>
            <a:effectLst/>
          </p:spPr>
        </p:cxnSp>
        <p:sp>
          <p:nvSpPr>
            <p:cNvPr id="77" name="직사각형 76">
              <a:extLst>
                <a:ext uri="{FF2B5EF4-FFF2-40B4-BE49-F238E27FC236}">
                  <a16:creationId xmlns:a16="http://schemas.microsoft.com/office/drawing/2014/main" id="{EFCF43DF-4C4E-90D6-3E6F-EA1C10E82F20}"/>
                </a:ext>
              </a:extLst>
            </p:cNvPr>
            <p:cNvSpPr/>
            <p:nvPr/>
          </p:nvSpPr>
          <p:spPr>
            <a:xfrm>
              <a:off x="1858804" y="5977136"/>
              <a:ext cx="345621" cy="1584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 panose="020B0604030500040204" pitchFamily="34" charset="0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8" name="직사각형 77"/>
            <p:cNvSpPr/>
            <p:nvPr/>
          </p:nvSpPr>
          <p:spPr>
            <a:xfrm>
              <a:off x="2358680" y="4016323"/>
              <a:ext cx="4408410" cy="478300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UCM Master</a:t>
              </a:r>
            </a:p>
          </p:txBody>
        </p:sp>
        <p:sp>
          <p:nvSpPr>
            <p:cNvPr id="79" name="직사각형 78"/>
            <p:cNvSpPr/>
            <p:nvPr/>
          </p:nvSpPr>
          <p:spPr>
            <a:xfrm>
              <a:off x="2358680" y="1662667"/>
              <a:ext cx="1819423" cy="4783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OTA Cli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4952997" y="1662667"/>
              <a:ext cx="1819423" cy="4783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Vehicle Driv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81" name="직사각형 80"/>
            <p:cNvSpPr/>
            <p:nvPr/>
          </p:nvSpPr>
          <p:spPr>
            <a:xfrm>
              <a:off x="7547314" y="1662667"/>
              <a:ext cx="1819423" cy="4783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Vehicle State Manag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aytona" panose="020B0604030500040204" pitchFamily="34" charset="0"/>
                  <a:ea typeface="맑은 고딕" panose="020B0503020000020004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82" name="직사각형 81"/>
            <p:cNvSpPr/>
            <p:nvPr/>
          </p:nvSpPr>
          <p:spPr>
            <a:xfrm>
              <a:off x="7547314" y="4016323"/>
              <a:ext cx="1819423" cy="47830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FFC00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스마트체2.0 SemiBold" panose="020B0600000101010101" pitchFamily="50" charset="-127"/>
                  <a:ea typeface="LG스마트체2.0 SemiBold" panose="020B0600000101010101" pitchFamily="50" charset="-127"/>
                  <a:cs typeface="+mn-cs"/>
                </a:rPr>
                <a:t>UCM Subordinate</a:t>
              </a: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1858804" y="5731098"/>
              <a:ext cx="345600" cy="158400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FFC00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1952623" y="6227359"/>
              <a:ext cx="144000" cy="144000"/>
            </a:xfrm>
            <a:prstGeom prst="rect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n-cs"/>
              </a:endParaRPr>
            </a:p>
          </p:txBody>
        </p:sp>
      </p:grpSp>
      <p:sp>
        <p:nvSpPr>
          <p:cNvPr id="32" name="오른쪽 화살표 31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48577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637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3. Project </a:t>
            </a:r>
            <a:r>
              <a:rPr lang="ko-KR" altLang="en-US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참여 인원 구성</a:t>
            </a:r>
            <a:endParaRPr lang="en-US" altLang="ko-KR" sz="18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인원 구성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1417242"/>
              </p:ext>
            </p:extLst>
          </p:nvPr>
        </p:nvGraphicFramePr>
        <p:xfrm>
          <a:off x="695400" y="1016732"/>
          <a:ext cx="8820980" cy="2682240"/>
        </p:xfrm>
        <a:graphic>
          <a:graphicData uri="http://schemas.openxmlformats.org/drawingml/2006/table">
            <a:tbl>
              <a:tblPr firstRow="1" firstCol="1" bandRow="1"/>
              <a:tblGrid>
                <a:gridCol w="1950470">
                  <a:extLst>
                    <a:ext uri="{9D8B030D-6E8A-4147-A177-3AD203B41FA5}">
                      <a16:colId xmlns:a16="http://schemas.microsoft.com/office/drawing/2014/main" val="3713388902"/>
                    </a:ext>
                  </a:extLst>
                </a:gridCol>
                <a:gridCol w="6870510">
                  <a:extLst>
                    <a:ext uri="{9D8B030D-6E8A-4147-A177-3AD203B41FA5}">
                      <a16:colId xmlns:a16="http://schemas.microsoft.com/office/drawing/2014/main" val="24457704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dirty="0" err="1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조직명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CTO Division</a:t>
                      </a:r>
                      <a:r>
                        <a:rPr lang="en-US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/ Software Center /</a:t>
                      </a:r>
                      <a:br>
                        <a:rPr lang="en-US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</a:br>
                      <a:r>
                        <a:rPr lang="en-US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Software Platform (</a:t>
                      </a:r>
                      <a:r>
                        <a:rPr lang="ko-KR" altLang="en-US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연구소</a:t>
                      </a:r>
                      <a:r>
                        <a:rPr lang="en-US" altLang="ko-KR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 / Automotive Platform Task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7894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Task Leader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400" dirty="0" err="1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민성욱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책임연구원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8188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Project</a:t>
                      </a:r>
                      <a:r>
                        <a:rPr lang="en-US" sz="1400" b="1" kern="100" baseline="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Leader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400" kern="100" dirty="0" err="1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류성근</a:t>
                      </a:r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책임연구원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828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Architect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400" kern="100" dirty="0" err="1" smtClean="0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박창훈</a:t>
                      </a:r>
                      <a:r>
                        <a:rPr lang="ko-KR" altLang="en-US" sz="1400" kern="100" dirty="0" smtClean="0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책임연구원</a:t>
                      </a:r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Function</a:t>
                      </a:r>
                      <a:r>
                        <a:rPr lang="en-US" altLang="ko-KR" sz="1400" kern="100" baseline="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Owner(</a:t>
                      </a:r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대외 </a:t>
                      </a:r>
                      <a:r>
                        <a:rPr lang="en-US" altLang="ko-KR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ommunication),</a:t>
                      </a:r>
                      <a:r>
                        <a:rPr lang="en-US" altLang="ko-KR" sz="1400" kern="100" baseline="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uirement </a:t>
                      </a:r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분석</a:t>
                      </a:r>
                      <a:r>
                        <a:rPr lang="en-US" altLang="ko-KR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SAD </a:t>
                      </a:r>
                      <a:r>
                        <a:rPr lang="ko-KR" altLang="en-US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작성</a:t>
                      </a:r>
                      <a:r>
                        <a:rPr lang="en-US" altLang="ko-KR" sz="14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405767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Developer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dirty="0" err="1" smtClean="0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박창훈</a:t>
                      </a:r>
                      <a:r>
                        <a:rPr lang="ko-KR" altLang="en-US" sz="1400" dirty="0" smtClean="0">
                          <a:solidFill>
                            <a:srgbClr val="00B05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책임연구원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(SDD</a:t>
                      </a:r>
                      <a:r>
                        <a:rPr lang="en-US" altLang="ko-KR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작성</a:t>
                      </a:r>
                      <a:r>
                        <a:rPr lang="en-US" altLang="ko-KR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,</a:t>
                      </a:r>
                      <a:r>
                        <a:rPr lang="ko-KR" altLang="en-US" sz="14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UCM Master Interface 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현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74869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dirty="0" err="1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본강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책임연구원 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(SDD 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작성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, UCM Master Feature 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현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en-US" sz="1400" dirty="0" smtClean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1771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23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</a:t>
                      </a:r>
                      <a:r>
                        <a:rPr lang="ko-KR" altLang="en-US" sz="1400" dirty="0" err="1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명혁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책임연구원 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(SDD 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작성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, UCM Master Feature 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구현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)</a:t>
                      </a:r>
                      <a:endParaRPr lang="en-US" sz="1400" dirty="0" smtClean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874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Tester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협력업체 직원 </a:t>
                      </a:r>
                      <a:r>
                        <a:rPr lang="en-US" altLang="ko-KR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</a:t>
                      </a:r>
                      <a:r>
                        <a:rPr lang="ko-KR" altLang="en-US" sz="14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명</a:t>
                      </a:r>
                      <a:endParaRPr lang="en-US" sz="14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525433"/>
                  </a:ext>
                </a:extLst>
              </a:tr>
            </a:tbl>
          </a:graphicData>
        </a:graphic>
      </p:graphicFrame>
      <p:sp>
        <p:nvSpPr>
          <p:cNvPr id="5" name="오른쪽 화살표 4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5470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4. Utility Tree</a:t>
            </a:r>
            <a:endParaRPr lang="en-US" altLang="ko-KR" sz="1800" dirty="0">
              <a:solidFill>
                <a:prstClr val="black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4431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tility Tre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000" dirty="0">
              <a:solidFill>
                <a:srgbClr val="00B05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grpSp>
        <p:nvGrpSpPr>
          <p:cNvPr id="182" name="그룹 181"/>
          <p:cNvGrpSpPr/>
          <p:nvPr/>
        </p:nvGrpSpPr>
        <p:grpSpPr>
          <a:xfrm>
            <a:off x="630540" y="450380"/>
            <a:ext cx="8777828" cy="6347756"/>
            <a:chOff x="302078" y="57171"/>
            <a:chExt cx="8777828" cy="6347756"/>
          </a:xfrm>
        </p:grpSpPr>
        <p:sp>
          <p:nvSpPr>
            <p:cNvPr id="183" name="직사각형 182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302078" y="2878744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tility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4" name="직사각형 18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1074428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vailability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5" name="직사각형 184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2695957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Performance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6" name="직사각형 185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5085778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ecurity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87" name="직사각형 186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3882006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Extensibility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grpSp>
          <p:nvGrpSpPr>
            <p:cNvPr id="188" name="그룹 187"/>
            <p:cNvGrpSpPr/>
            <p:nvPr/>
          </p:nvGrpSpPr>
          <p:grpSpPr>
            <a:xfrm>
              <a:off x="4755968" y="671825"/>
              <a:ext cx="1629592" cy="1221616"/>
              <a:chOff x="5517968" y="1231278"/>
              <a:chExt cx="1629592" cy="1221616"/>
            </a:xfrm>
          </p:grpSpPr>
          <p:sp>
            <p:nvSpPr>
              <p:cNvPr id="239" name="직사각형 238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1231278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5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UCM Master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결함 방지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40" name="직사각형 239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2033794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6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W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업데이트 지속성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</p:grpSp>
        <p:grpSp>
          <p:nvGrpSpPr>
            <p:cNvPr id="189" name="그룹 188"/>
            <p:cNvGrpSpPr/>
            <p:nvPr/>
          </p:nvGrpSpPr>
          <p:grpSpPr>
            <a:xfrm>
              <a:off x="4755968" y="4684520"/>
              <a:ext cx="1629592" cy="1221616"/>
              <a:chOff x="5517968" y="3638826"/>
              <a:chExt cx="1629592" cy="1221616"/>
            </a:xfrm>
          </p:grpSpPr>
          <p:sp>
            <p:nvSpPr>
              <p:cNvPr id="237" name="직사각형 236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3638826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1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Vehicle Software Packag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Integrity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38" name="직사각형 237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5517968" y="4441342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2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데이터 전송 보안</a:t>
                </a:r>
              </a:p>
            </p:txBody>
          </p:sp>
        </p:grpSp>
        <p:sp>
          <p:nvSpPr>
            <p:cNvPr id="190" name="직사각형 189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4755968" y="3882006"/>
              <a:ext cx="162959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REQ-QA-UCM-07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(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가변적</a:t>
              </a: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) </a:t>
              </a:r>
              <a:r>
                <a: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관리 용이성</a:t>
              </a:r>
              <a:endPara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1" name="직사각형 190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671825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M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2" name="직사각형 191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1474360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L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3" name="직사각형 192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2276895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M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4" name="직사각형 19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4684500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H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5" name="직사각형 194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5487036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H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196" name="직사각형 195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3881965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M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M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197" name="직선 화살표 연결선 196"/>
            <p:cNvCxnSpPr>
              <a:stCxn id="184" idx="3"/>
              <a:endCxn id="239" idx="1"/>
            </p:cNvCxnSpPr>
            <p:nvPr/>
          </p:nvCxnSpPr>
          <p:spPr>
            <a:xfrm flipV="1">
              <a:off x="4191000" y="881375"/>
              <a:ext cx="564968" cy="40260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198" name="직선 화살표 연결선 197"/>
            <p:cNvCxnSpPr>
              <a:stCxn id="184" idx="3"/>
              <a:endCxn id="240" idx="1"/>
            </p:cNvCxnSpPr>
            <p:nvPr/>
          </p:nvCxnSpPr>
          <p:spPr>
            <a:xfrm>
              <a:off x="4191000" y="1283978"/>
              <a:ext cx="564968" cy="399913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199" name="직선 화살표 연결선 198"/>
            <p:cNvCxnSpPr>
              <a:stCxn id="185" idx="3"/>
              <a:endCxn id="235" idx="1"/>
            </p:cNvCxnSpPr>
            <p:nvPr/>
          </p:nvCxnSpPr>
          <p:spPr>
            <a:xfrm flipV="1">
              <a:off x="4191000" y="2486407"/>
              <a:ext cx="564968" cy="41910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0" name="직선 화살표 연결선 199"/>
            <p:cNvCxnSpPr>
              <a:stCxn id="186" idx="3"/>
              <a:endCxn id="237" idx="1"/>
            </p:cNvCxnSpPr>
            <p:nvPr/>
          </p:nvCxnSpPr>
          <p:spPr>
            <a:xfrm flipV="1">
              <a:off x="4191000" y="4894070"/>
              <a:ext cx="564968" cy="40125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1" name="직선 화살표 연결선 200"/>
            <p:cNvCxnSpPr>
              <a:stCxn id="186" idx="3"/>
              <a:endCxn id="238" idx="1"/>
            </p:cNvCxnSpPr>
            <p:nvPr/>
          </p:nvCxnSpPr>
          <p:spPr>
            <a:xfrm>
              <a:off x="4191000" y="5295328"/>
              <a:ext cx="564968" cy="40125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2" name="직선 화살표 연결선 201"/>
            <p:cNvCxnSpPr>
              <a:stCxn id="183" idx="3"/>
              <a:endCxn id="184" idx="1"/>
            </p:cNvCxnSpPr>
            <p:nvPr/>
          </p:nvCxnSpPr>
          <p:spPr>
            <a:xfrm flipV="1">
              <a:off x="1809750" y="1283978"/>
              <a:ext cx="873578" cy="1804316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03" name="직선 화살표 연결선 202"/>
            <p:cNvCxnSpPr>
              <a:stCxn id="239" idx="3"/>
              <a:endCxn id="191" idx="1"/>
            </p:cNvCxnSpPr>
            <p:nvPr/>
          </p:nvCxnSpPr>
          <p:spPr>
            <a:xfrm>
              <a:off x="6385560" y="881375"/>
              <a:ext cx="564968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4" name="직선 화살표 연결선 203"/>
            <p:cNvCxnSpPr>
              <a:stCxn id="240" idx="3"/>
              <a:endCxn id="192" idx="1"/>
            </p:cNvCxnSpPr>
            <p:nvPr/>
          </p:nvCxnSpPr>
          <p:spPr>
            <a:xfrm>
              <a:off x="6385560" y="1683891"/>
              <a:ext cx="564968" cy="19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5" name="직선 화살표 연결선 204"/>
            <p:cNvCxnSpPr>
              <a:stCxn id="235" idx="3"/>
              <a:endCxn id="193" idx="1"/>
            </p:cNvCxnSpPr>
            <p:nvPr/>
          </p:nvCxnSpPr>
          <p:spPr>
            <a:xfrm>
              <a:off x="6385560" y="2486407"/>
              <a:ext cx="564968" cy="38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6" name="직선 화살표 연결선 205"/>
            <p:cNvCxnSpPr>
              <a:stCxn id="237" idx="3"/>
              <a:endCxn id="194" idx="1"/>
            </p:cNvCxnSpPr>
            <p:nvPr/>
          </p:nvCxnSpPr>
          <p:spPr>
            <a:xfrm flipV="1">
              <a:off x="6385560" y="4894050"/>
              <a:ext cx="564968" cy="2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7" name="직선 화살표 연결선 206"/>
            <p:cNvCxnSpPr>
              <a:stCxn id="238" idx="3"/>
              <a:endCxn id="195" idx="1"/>
            </p:cNvCxnSpPr>
            <p:nvPr/>
          </p:nvCxnSpPr>
          <p:spPr>
            <a:xfrm>
              <a:off x="6385560" y="5696586"/>
              <a:ext cx="564968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8" name="직선 화살표 연결선 207"/>
            <p:cNvCxnSpPr>
              <a:stCxn id="190" idx="3"/>
              <a:endCxn id="196" idx="1"/>
            </p:cNvCxnSpPr>
            <p:nvPr/>
          </p:nvCxnSpPr>
          <p:spPr>
            <a:xfrm flipV="1">
              <a:off x="6385560" y="4091515"/>
              <a:ext cx="564968" cy="41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09" name="직선 화살표 연결선 208"/>
            <p:cNvCxnSpPr>
              <a:stCxn id="187" idx="3"/>
              <a:endCxn id="190" idx="1"/>
            </p:cNvCxnSpPr>
            <p:nvPr/>
          </p:nvCxnSpPr>
          <p:spPr>
            <a:xfrm>
              <a:off x="4191000" y="4091556"/>
              <a:ext cx="564968" cy="0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10" name="직선 화살표 연결선 209"/>
            <p:cNvCxnSpPr>
              <a:stCxn id="183" idx="3"/>
              <a:endCxn id="185" idx="1"/>
            </p:cNvCxnSpPr>
            <p:nvPr/>
          </p:nvCxnSpPr>
          <p:spPr>
            <a:xfrm flipV="1">
              <a:off x="1809750" y="2905507"/>
              <a:ext cx="873578" cy="182787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11" name="직선 화살표 연결선 210"/>
            <p:cNvCxnSpPr>
              <a:stCxn id="183" idx="3"/>
              <a:endCxn id="186" idx="1"/>
            </p:cNvCxnSpPr>
            <p:nvPr/>
          </p:nvCxnSpPr>
          <p:spPr>
            <a:xfrm>
              <a:off x="1809750" y="3088294"/>
              <a:ext cx="873578" cy="2207034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cxnSp>
          <p:nvCxnSpPr>
            <p:cNvPr id="212" name="직선 화살표 연결선 211"/>
            <p:cNvCxnSpPr>
              <a:stCxn id="183" idx="3"/>
              <a:endCxn id="187" idx="1"/>
            </p:cNvCxnSpPr>
            <p:nvPr/>
          </p:nvCxnSpPr>
          <p:spPr>
            <a:xfrm>
              <a:off x="1809750" y="3088294"/>
              <a:ext cx="873578" cy="1003262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grpSp>
          <p:nvGrpSpPr>
            <p:cNvPr id="213" name="그룹 212"/>
            <p:cNvGrpSpPr/>
            <p:nvPr/>
          </p:nvGrpSpPr>
          <p:grpSpPr>
            <a:xfrm>
              <a:off x="4755968" y="2276857"/>
              <a:ext cx="1629592" cy="1221614"/>
              <a:chOff x="4755968" y="1852060"/>
              <a:chExt cx="1629592" cy="1221614"/>
            </a:xfrm>
          </p:grpSpPr>
          <p:sp>
            <p:nvSpPr>
              <p:cNvPr id="235" name="직사각형 234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4755968" y="1852060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3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W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업데이트 소요 시간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36" name="직사각형 235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4755968" y="2654574"/>
                <a:ext cx="1629592" cy="419100"/>
              </a:xfrm>
              <a:prstGeom prst="rect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REQ-QA-UCM-04</a:t>
                </a: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SW </a:t>
                </a:r>
                <a:r>
                  <a:rPr kumimoji="0" lang="ko-KR" altLang="en-US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  <a:cs typeface="+mn-cs"/>
                  </a:rPr>
                  <a:t>업데이트 리소스 관리</a:t>
                </a:r>
                <a:endPara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</p:grpSp>
        <p:sp>
          <p:nvSpPr>
            <p:cNvPr id="214" name="직사각형 21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3079430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Business : M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Technical Impact : L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215" name="직선 화살표 연결선 214"/>
            <p:cNvCxnSpPr>
              <a:stCxn id="236" idx="3"/>
              <a:endCxn id="214" idx="1"/>
            </p:cNvCxnSpPr>
            <p:nvPr/>
          </p:nvCxnSpPr>
          <p:spPr>
            <a:xfrm>
              <a:off x="6385560" y="3288921"/>
              <a:ext cx="564968" cy="59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216" name="직선 화살표 연결선 215"/>
            <p:cNvCxnSpPr>
              <a:stCxn id="185" idx="3"/>
              <a:endCxn id="236" idx="1"/>
            </p:cNvCxnSpPr>
            <p:nvPr/>
          </p:nvCxnSpPr>
          <p:spPr>
            <a:xfrm>
              <a:off x="4191000" y="2905507"/>
              <a:ext cx="564968" cy="383414"/>
            </a:xfrm>
            <a:prstGeom prst="straightConnector1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stealth" w="med" len="med"/>
            </a:ln>
            <a:effectLst/>
          </p:spPr>
        </p:cxnSp>
        <p:grpSp>
          <p:nvGrpSpPr>
            <p:cNvPr id="217" name="그룹 216"/>
            <p:cNvGrpSpPr/>
            <p:nvPr/>
          </p:nvGrpSpPr>
          <p:grpSpPr>
            <a:xfrm>
              <a:off x="7092016" y="6174095"/>
              <a:ext cx="1987890" cy="230832"/>
              <a:chOff x="7015816" y="6174095"/>
              <a:chExt cx="1987890" cy="230832"/>
            </a:xfrm>
          </p:grpSpPr>
          <p:sp>
            <p:nvSpPr>
              <p:cNvPr id="233" name="직사각형 232">
                <a:extLst>
                  <a:ext uri="{FF2B5EF4-FFF2-40B4-BE49-F238E27FC236}">
                    <a16:creationId xmlns:a16="http://schemas.microsoft.com/office/drawing/2014/main" id="{69494F0D-3897-5D97-3F60-8C229CD90D11}"/>
                  </a:ext>
                </a:extLst>
              </p:cNvPr>
              <p:cNvSpPr/>
              <p:nvPr/>
            </p:nvSpPr>
            <p:spPr>
              <a:xfrm>
                <a:off x="7015816" y="6188332"/>
                <a:ext cx="577850" cy="202358"/>
              </a:xfrm>
              <a:prstGeom prst="rect">
                <a:avLst/>
              </a:prstGeom>
              <a:noFill/>
              <a:ln w="6350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endParaRPr>
              </a:p>
            </p:txBody>
          </p:sp>
          <p:sp>
            <p:nvSpPr>
              <p:cNvPr id="234" name="직사각형 233"/>
              <p:cNvSpPr/>
              <p:nvPr/>
            </p:nvSpPr>
            <p:spPr>
              <a:xfrm>
                <a:off x="7693732" y="6174095"/>
                <a:ext cx="1309974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LG Smart UI SemiBold" panose="020B0700000101010101" pitchFamily="50" charset="-127"/>
                    <a:ea typeface="LG Smart UI SemiBold" panose="020B0700000101010101" pitchFamily="50" charset="-127"/>
                  </a:rPr>
                  <a:t>Key Quality Attribute</a:t>
                </a:r>
                <a:endParaRPr kumimoji="0" lang="ko-KR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endParaRPr>
              </a:p>
            </p:txBody>
          </p:sp>
        </p:grpSp>
        <p:sp>
          <p:nvSpPr>
            <p:cNvPr id="219" name="직사각형 218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683328" y="57171"/>
              <a:ext cx="1507672" cy="4191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Quality Attribute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0" name="직사각형 219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4755968" y="57171"/>
              <a:ext cx="1629592" cy="4191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QA ID &amp; Description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1" name="직사각형 220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6950528" y="57171"/>
              <a:ext cx="2024150" cy="419100"/>
            </a:xfrm>
            <a:prstGeom prst="rect">
              <a:avLst/>
            </a:prstGeom>
            <a:noFill/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Priority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223" name="직선 연결선 222"/>
            <p:cNvCxnSpPr/>
            <p:nvPr/>
          </p:nvCxnSpPr>
          <p:spPr>
            <a:xfrm>
              <a:off x="2683328" y="483899"/>
              <a:ext cx="15084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24" name="직선 연결선 223"/>
            <p:cNvCxnSpPr/>
            <p:nvPr/>
          </p:nvCxnSpPr>
          <p:spPr>
            <a:xfrm>
              <a:off x="6950528" y="483899"/>
              <a:ext cx="2025127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25" name="직사각형 224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671825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3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6" name="직사각형 225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2276857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2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7" name="직사각형 226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4684500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1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8" name="직사각형 227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5487036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5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29" name="직사각형 228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828" y="3881965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4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30" name="직사각형 229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3079371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6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231" name="직사각형 230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557078" y="1474242"/>
              <a:ext cx="417600" cy="419100"/>
            </a:xfrm>
            <a:prstGeom prst="rect">
              <a:avLst/>
            </a:prstGeom>
            <a:noFill/>
            <a:ln w="63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7</a:t>
              </a:r>
              <a:endPara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232" name="직선 연결선 231"/>
            <p:cNvCxnSpPr/>
            <p:nvPr/>
          </p:nvCxnSpPr>
          <p:spPr>
            <a:xfrm>
              <a:off x="4755968" y="483899"/>
              <a:ext cx="1630800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sp>
        <p:nvSpPr>
          <p:cNvPr id="241" name="직사각형 240"/>
          <p:cNvSpPr/>
          <p:nvPr/>
        </p:nvSpPr>
        <p:spPr>
          <a:xfrm>
            <a:off x="3683732" y="6574924"/>
            <a:ext cx="36663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9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* Priority Number : 1 </a:t>
            </a:r>
            <a:r>
              <a:rPr lang="ko-KR" altLang="en-US" sz="9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이 가장 높은 </a:t>
            </a:r>
            <a:r>
              <a:rPr lang="en-US" altLang="ko-KR" sz="9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iority, 7 </a:t>
            </a:r>
            <a:r>
              <a:rPr lang="ko-KR" altLang="en-US" sz="9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이 가장 낮은 </a:t>
            </a:r>
            <a:r>
              <a:rPr lang="en-US" altLang="ko-KR" sz="9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riority </a:t>
            </a:r>
            <a:r>
              <a:rPr lang="ko-KR" altLang="en-US" sz="9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를 의미</a:t>
            </a:r>
            <a:endParaRPr lang="ko-KR" altLang="en-US" dirty="0"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62" name="오른쪽 화살표 61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524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11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5. Quality Attribute Scenario (1/2)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ttribute Scenario (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-QA-UCM-01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~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-QA-UCM-03)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123" name="표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250757"/>
              </p:ext>
            </p:extLst>
          </p:nvPr>
        </p:nvGraphicFramePr>
        <p:xfrm>
          <a:off x="665729" y="3517988"/>
          <a:ext cx="5490845" cy="24384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1742465990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25917500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2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8218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ecur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2885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악의적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 Attack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680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Driver, Vehicle Identity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정보 유출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036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531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233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ko-KR" sz="10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통신상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정보가 노출되어도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hle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dirty="0" err="1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rvier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와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Identity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에 대한 정보가 노출되지 않아야 한다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3308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Packet Capture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시 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Driver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와 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Identity </a:t>
                      </a:r>
                      <a:r>
                        <a:rPr lang="ko-KR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에 대한 정보가 노출되지 않아야 한다</a:t>
                      </a:r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.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287061"/>
                  </a:ext>
                </a:extLst>
              </a:tr>
            </a:tbl>
          </a:graphicData>
        </a:graphic>
      </p:graphicFrame>
      <p:graphicFrame>
        <p:nvGraphicFramePr>
          <p:cNvPr id="126" name="표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197670"/>
              </p:ext>
            </p:extLst>
          </p:nvPr>
        </p:nvGraphicFramePr>
        <p:xfrm>
          <a:off x="665729" y="1088740"/>
          <a:ext cx="5490845" cy="22860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713388902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24457704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1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8188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ecur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4828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악의적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 Attack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4057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ttack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 임의로 생성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packag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 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7486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874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5254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Software Update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 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 원인 기록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Logging))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5675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Vehicle Software Update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되는지 확인한다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.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Update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중단에 대한 원인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/Description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기록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(Log)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확인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)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73300"/>
                  </a:ext>
                </a:extLst>
              </a:tr>
            </a:tbl>
          </a:graphicData>
        </a:graphic>
      </p:graphicFrame>
      <p:graphicFrame>
        <p:nvGraphicFramePr>
          <p:cNvPr id="128" name="표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457138"/>
              </p:ext>
            </p:extLst>
          </p:nvPr>
        </p:nvGraphicFramePr>
        <p:xfrm>
          <a:off x="6348028" y="1088740"/>
          <a:ext cx="5490845" cy="38100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667199034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28815256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3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0828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Performan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359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978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</a:t>
                      </a:r>
                      <a:r>
                        <a:rPr 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시도</a:t>
                      </a:r>
                      <a: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60MB Vehicle Software Packag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 테스트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864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437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0245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총 소요시간을 측정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790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Package size 60MB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 업데이트 시도 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가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5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(300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초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내에 완료되는지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* Vehicle Software Package siz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에 따라 달라질 수 있으므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1MB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당 처리 시간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esponse Measu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단위로 하고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1MB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처리 시간은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5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초를 넘지 않아야 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*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소요 시간 측정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- 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사용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Wi-Fi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연결된 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Software Package(s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를 전송한 시점부터 업데이트 완료 시점까지 소요된 시간 측정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- 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사용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 자동차와 연결된 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을 이용하여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Package(s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를 전송한 시점부터 업데이트 완료 시점까지 소요된 시간 측정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9309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5257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꺾인 연결선 12"/>
          <p:cNvCxnSpPr>
            <a:stCxn id="22" idx="2"/>
            <a:endCxn id="32" idx="0"/>
          </p:cNvCxnSpPr>
          <p:nvPr/>
        </p:nvCxnSpPr>
        <p:spPr>
          <a:xfrm rot="5400000">
            <a:off x="5717837" y="-863882"/>
            <a:ext cx="581481" cy="771002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>
            <a:stCxn id="22" idx="2"/>
            <a:endCxn id="38" idx="0"/>
          </p:cNvCxnSpPr>
          <p:nvPr/>
        </p:nvCxnSpPr>
        <p:spPr>
          <a:xfrm>
            <a:off x="9863591" y="2700392"/>
            <a:ext cx="2" cy="581481"/>
          </a:xfrm>
          <a:prstGeom prst="line">
            <a:avLst/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stCxn id="22" idx="2"/>
            <a:endCxn id="35" idx="0"/>
          </p:cNvCxnSpPr>
          <p:nvPr/>
        </p:nvCxnSpPr>
        <p:spPr>
          <a:xfrm rot="5400000">
            <a:off x="7667056" y="1085337"/>
            <a:ext cx="581481" cy="3811591"/>
          </a:xfrm>
          <a:prstGeom prst="bentConnector3">
            <a:avLst/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de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587387" y="3281873"/>
            <a:ext cx="3132349" cy="3360729"/>
            <a:chOff x="587387" y="3317157"/>
            <a:chExt cx="3132349" cy="3360729"/>
          </a:xfrm>
        </p:grpSpPr>
        <p:pic>
          <p:nvPicPr>
            <p:cNvPr id="32" name="Picture 12" descr="Isometric computer lab. Computer education in classroom. Computer classroom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75" r="12246"/>
            <a:stretch/>
          </p:blipFill>
          <p:spPr bwMode="auto">
            <a:xfrm>
              <a:off x="587387" y="3317157"/>
              <a:ext cx="3132349" cy="2657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모서리가 둥근 직사각형 32"/>
            <p:cNvSpPr/>
            <p:nvPr/>
          </p:nvSpPr>
          <p:spPr>
            <a:xfrm>
              <a:off x="709800" y="6237312"/>
              <a:ext cx="300993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A : Requirement Engineering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grpSp>
        <p:nvGrpSpPr>
          <p:cNvPr id="34" name="그룹 33"/>
          <p:cNvGrpSpPr/>
          <p:nvPr/>
        </p:nvGrpSpPr>
        <p:grpSpPr>
          <a:xfrm>
            <a:off x="4152957" y="3281873"/>
            <a:ext cx="3798086" cy="3360729"/>
            <a:chOff x="4313949" y="3317157"/>
            <a:chExt cx="3798086" cy="3360729"/>
          </a:xfrm>
        </p:grpSpPr>
        <p:pic>
          <p:nvPicPr>
            <p:cNvPr id="35" name="Picture 10" descr="Vector isometric computer lab classroom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2385" y="3317157"/>
              <a:ext cx="3381214" cy="27322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모서리가 둥근 직사각형 35"/>
            <p:cNvSpPr/>
            <p:nvPr/>
          </p:nvSpPr>
          <p:spPr>
            <a:xfrm>
              <a:off x="4313949" y="6237312"/>
              <a:ext cx="3798086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B : Object-Oriented Analysis and Design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8384265" y="3281873"/>
            <a:ext cx="2958656" cy="3389705"/>
            <a:chOff x="8578516" y="3288181"/>
            <a:chExt cx="2958656" cy="3389705"/>
          </a:xfrm>
        </p:grpSpPr>
        <p:pic>
          <p:nvPicPr>
            <p:cNvPr id="38" name="Picture 14" descr="Modern technology class room with desks, chairs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8516" y="3288181"/>
              <a:ext cx="2958656" cy="2958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모서리가 둥근 직사각형 38"/>
            <p:cNvSpPr/>
            <p:nvPr/>
          </p:nvSpPr>
          <p:spPr>
            <a:xfrm>
              <a:off x="9267160" y="6237312"/>
              <a:ext cx="1581368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Classroom C : C++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sp>
        <p:nvSpPr>
          <p:cNvPr id="43" name="텍스트 개체 틀 3"/>
          <p:cNvSpPr txBox="1">
            <a:spLocks/>
          </p:cNvSpPr>
          <p:nvPr/>
        </p:nvSpPr>
        <p:spPr>
          <a:xfrm>
            <a:off x="438485" y="672117"/>
            <a:ext cx="11418155" cy="15511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나의 졸업 이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…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ackend Serv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축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indows O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Agen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의한 자동 업데이트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C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프트웨어 동시 업데이트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총 예상 소요 시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Patch 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건 당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5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 미만</a:t>
            </a: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21" name="그룹 20"/>
          <p:cNvGrpSpPr/>
          <p:nvPr/>
        </p:nvGrpSpPr>
        <p:grpSpPr>
          <a:xfrm>
            <a:off x="9132855" y="964214"/>
            <a:ext cx="1461470" cy="1736178"/>
            <a:chOff x="5662465" y="576698"/>
            <a:chExt cx="1461470" cy="1736178"/>
          </a:xfrm>
        </p:grpSpPr>
        <p:pic>
          <p:nvPicPr>
            <p:cNvPr id="22" name="Picture 2" descr="Flat isometric 3d illustration of database concept with cloud server  16716622 Vector Art at Vecteezy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03" t="9414" r="13699" b="8223"/>
            <a:stretch/>
          </p:blipFill>
          <p:spPr bwMode="auto">
            <a:xfrm>
              <a:off x="5745128" y="1052736"/>
              <a:ext cx="1296145" cy="1260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모서리가 둥근 직사각형 22"/>
            <p:cNvSpPr/>
            <p:nvPr/>
          </p:nvSpPr>
          <p:spPr>
            <a:xfrm>
              <a:off x="5662465" y="576698"/>
              <a:ext cx="1461470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Backend Server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1275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Quality Attribute Scenario (REQ-QA-UCM-04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~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-QA-UCM-07)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668097" y="1088740"/>
          <a:ext cx="5490845" cy="21336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1824506547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712065337"/>
                    </a:ext>
                  </a:extLst>
                </a:gridCol>
              </a:tblGrid>
              <a:tr h="244836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4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6452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Performance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9612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6736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3298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9695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UTOSAR Adaptive platfor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모듈들이 정상적으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11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PU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점유율을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5735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중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PU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점유율이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30%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를 초과하는지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582243"/>
                  </a:ext>
                </a:extLst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668097" y="3429000"/>
          <a:ext cx="5490845" cy="21336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886288798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64000565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5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9899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vailabil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9913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5403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Backend Ser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Diagnostic Tool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3625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8430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 (e.g. ECU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전원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에서 오류로 인하여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UCM Master </a:t>
                      </a:r>
                      <a:r>
                        <a:rPr 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</a:t>
                      </a:r>
                      <a: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unning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되고 있지 않는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5124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 정상적으로 진행되는지 확인한다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14248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20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회 시도 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20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회 모두 정상적으로 진행되는지 확인한다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954644"/>
                  </a:ext>
                </a:extLst>
              </a:tr>
            </a:tbl>
          </a:graphicData>
        </a:graphic>
      </p:graphicFrame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6348027" y="1088740"/>
          <a:ext cx="5490845" cy="21336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349878174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4719400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6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35217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vailabil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8908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Human Vehicle Driver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또는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Te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656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중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Reboot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7530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0399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에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 진행 중인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3229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</a:t>
                      </a:r>
                      <a:r>
                        <a:rPr lang="ko-KR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시작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후에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Update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548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</a:t>
                      </a:r>
                      <a:r>
                        <a:rPr lang="ko-KR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시작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후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Vehicle Software Update </a:t>
                      </a:r>
                      <a:r>
                        <a:rPr 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가정상적으로</a:t>
                      </a:r>
                      <a: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ko-KR" sz="1000" kern="100" dirty="0" err="1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재시작하고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Software Update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완료 후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Vehicle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 정상동작 하는지 확인한다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403012"/>
                  </a:ext>
                </a:extLst>
              </a:tr>
            </a:tbl>
          </a:graphicData>
        </a:graphic>
      </p:graphicFrame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6348026" y="3429000"/>
          <a:ext cx="5490845" cy="2286000"/>
        </p:xfrm>
        <a:graphic>
          <a:graphicData uri="http://schemas.openxmlformats.org/drawingml/2006/table">
            <a:tbl>
              <a:tblPr firstRow="1" firstCol="1" bandRow="1"/>
              <a:tblGrid>
                <a:gridCol w="1214120">
                  <a:extLst>
                    <a:ext uri="{9D8B030D-6E8A-4147-A177-3AD203B41FA5}">
                      <a16:colId xmlns:a16="http://schemas.microsoft.com/office/drawing/2014/main" val="3883666747"/>
                    </a:ext>
                  </a:extLst>
                </a:gridCol>
                <a:gridCol w="4276725">
                  <a:extLst>
                    <a:ext uri="{9D8B030D-6E8A-4147-A177-3AD203B41FA5}">
                      <a16:colId xmlns:a16="http://schemas.microsoft.com/office/drawing/2014/main" val="6474816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ID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Q-QA-UCM-07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3733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yp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xtensibility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269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urc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ester (Diagnostic Tool)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4547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timulus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신규로 설치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업데이트 시도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7651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Artifac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Master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4018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nvironment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arget System(</a:t>
                      </a:r>
                      <a:r>
                        <a:rPr lang="en-US" sz="1000" kern="1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e.g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 ECU) Power on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</a:t>
                      </a:r>
                      <a:b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</a:b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이 신규로 설치된 상태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새로 설치된 </a:t>
                      </a:r>
                      <a:r>
                        <a:rPr lang="en-US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UCM </a:t>
                      </a:r>
                      <a:r>
                        <a:rPr lang="ko-KR" sz="1000" kern="1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의 업데이트가 준비된 상태</a:t>
                      </a:r>
                      <a:endParaRPr lang="en-US" sz="10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2046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신규로 설치된 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UCM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에 대한 업데이트 </a:t>
                      </a:r>
                      <a:r>
                        <a:rPr lang="ko-KR" sz="1000" dirty="0" err="1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업데이트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8597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0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Response Measure</a:t>
                      </a:r>
                      <a:endParaRPr lang="en-US" sz="100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UCM Master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의 변경사항 없이 새로운 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UCM </a:t>
                      </a:r>
                      <a:r>
                        <a:rPr lang="ko-KR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의 업데이트가 정상적으로 이루어지는지 확인한다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Segoe UI" panose="020B0502040204020203" pitchFamily="34" charset="0"/>
                        </a:rPr>
                        <a:t>.</a:t>
                      </a:r>
                      <a:endParaRPr lang="en-US" sz="9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348738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6. Quality Attribute Scenario (2/2)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10" name="오른쪽 화살표 9">
            <a:hlinkClick r:id="rId2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2303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771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source Monitor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Block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C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65K Block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RC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가하여 수신 측에서 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변조 또는 손상 여부 확인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7. 2</a:t>
            </a:r>
            <a:r>
              <a:rPr lang="en-US" altLang="ko-KR" sz="1800" baseline="300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nd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 Iteration </a:t>
            </a:r>
            <a:r>
              <a:rPr lang="ko-KR" altLang="en-US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검토 항목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52736"/>
            <a:ext cx="8858256" cy="3633531"/>
          </a:xfrm>
          <a:prstGeom prst="rect">
            <a:avLst/>
          </a:prstGeom>
        </p:spPr>
      </p:pic>
      <p:sp>
        <p:nvSpPr>
          <p:cNvPr id="5" name="오른쪽 화살표 4">
            <a:hlinkClick r:id="rId3" action="ppaction://hlinksldjump"/>
          </p:cNvPr>
          <p:cNvSpPr/>
          <p:nvPr/>
        </p:nvSpPr>
        <p:spPr>
          <a:xfrm rot="10800000">
            <a:off x="11622614" y="6412474"/>
            <a:ext cx="468052" cy="387443"/>
          </a:xfrm>
          <a:prstGeom prst="rightArrow">
            <a:avLst/>
          </a:prstGeom>
          <a:solidFill>
            <a:srgbClr val="B2B2B2"/>
          </a:solidFill>
        </p:spPr>
        <p:txBody>
          <a:bodyPr rtlCol="0" anchor="ctr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84376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60108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L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적용 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간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전송 시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1 Block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 약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86.2m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시간 증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300MB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크기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약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5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분 정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간 증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ignature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rification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행 시간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측정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300MB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준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평균 약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50m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소요 확인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hread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 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Work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수에 따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Loa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측정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LARA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latfor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체가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드 된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상태에서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의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cess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ackag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송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s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측정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HM Heartbea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오버헤드 측정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1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회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Heartbea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통신 시 사용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acket size : 8Byte(s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공인연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0Km/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리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최대 수용 연료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80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리터 자동차 시속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00Km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운행 기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속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주행 가능 시간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8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간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28,800 sec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주행 중 약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PU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0.1%, Memory 112.5KB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용 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8. </a:t>
            </a:r>
            <a:r>
              <a:rPr lang="ko-KR" altLang="en-US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실험결과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2234355"/>
              </p:ext>
            </p:extLst>
          </p:nvPr>
        </p:nvGraphicFramePr>
        <p:xfrm>
          <a:off x="721879" y="1010434"/>
          <a:ext cx="11017225" cy="834390"/>
        </p:xfrm>
        <a:graphic>
          <a:graphicData uri="http://schemas.openxmlformats.org/drawingml/2006/table">
            <a:tbl>
              <a:tblPr firstRow="1" firstCol="1" bandRow="1"/>
              <a:tblGrid>
                <a:gridCol w="2277777">
                  <a:extLst>
                    <a:ext uri="{9D8B030D-6E8A-4147-A177-3AD203B41FA5}">
                      <a16:colId xmlns:a16="http://schemas.microsoft.com/office/drawing/2014/main" val="761137373"/>
                    </a:ext>
                  </a:extLst>
                </a:gridCol>
                <a:gridCol w="4369724">
                  <a:extLst>
                    <a:ext uri="{9D8B030D-6E8A-4147-A177-3AD203B41FA5}">
                      <a16:colId xmlns:a16="http://schemas.microsoft.com/office/drawing/2014/main" val="3610593473"/>
                    </a:ext>
                  </a:extLst>
                </a:gridCol>
                <a:gridCol w="4369724">
                  <a:extLst>
                    <a:ext uri="{9D8B030D-6E8A-4147-A177-3AD203B41FA5}">
                      <a16:colId xmlns:a16="http://schemas.microsoft.com/office/drawing/2014/main" val="3099411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측정 조건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LS </a:t>
                      </a:r>
                      <a:r>
                        <a:rPr lang="ko-KR" alt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적용 전</a:t>
                      </a:r>
                      <a:endParaRPr lang="en-US" sz="1200" b="1" kern="100" dirty="0">
                        <a:solidFill>
                          <a:srgbClr val="000000"/>
                        </a:solidFill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TLS </a:t>
                      </a:r>
                      <a:r>
                        <a:rPr lang="ko-KR" alt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적용 후</a:t>
                      </a:r>
                      <a:endParaRPr lang="en-US" sz="1200" b="1" kern="100" dirty="0">
                        <a:solidFill>
                          <a:srgbClr val="000000"/>
                        </a:solidFill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327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CPU Load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9~21%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5 ~ 27%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01241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Software Package </a:t>
                      </a:r>
                      <a:r>
                        <a:rPr lang="ko-KR" alt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전송 시간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 Block (65KB) </a:t>
                      </a:r>
                      <a:r>
                        <a:rPr lang="ko-KR" alt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당 평균 </a:t>
                      </a:r>
                      <a:r>
                        <a:rPr lang="en-US" altLang="ko-KR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42.5ms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 Block</a:t>
                      </a:r>
                      <a:r>
                        <a:rPr lang="en-US" sz="12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(65KB) </a:t>
                      </a:r>
                      <a:r>
                        <a:rPr lang="ko-KR" altLang="en-US" sz="12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당 평균</a:t>
                      </a:r>
                      <a:r>
                        <a:rPr lang="en-US" altLang="ko-KR" sz="1200" baseline="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 228.7ms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011882"/>
                  </a:ext>
                </a:extLst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75512"/>
              </p:ext>
            </p:extLst>
          </p:nvPr>
        </p:nvGraphicFramePr>
        <p:xfrm>
          <a:off x="720949" y="4005064"/>
          <a:ext cx="6647501" cy="1112520"/>
        </p:xfrm>
        <a:graphic>
          <a:graphicData uri="http://schemas.openxmlformats.org/drawingml/2006/table">
            <a:tbl>
              <a:tblPr firstRow="1" firstCol="1" bandRow="1"/>
              <a:tblGrid>
                <a:gridCol w="2277777">
                  <a:extLst>
                    <a:ext uri="{9D8B030D-6E8A-4147-A177-3AD203B41FA5}">
                      <a16:colId xmlns:a16="http://schemas.microsoft.com/office/drawing/2014/main" val="2262881813"/>
                    </a:ext>
                  </a:extLst>
                </a:gridCol>
                <a:gridCol w="4369724">
                  <a:extLst>
                    <a:ext uri="{9D8B030D-6E8A-4147-A177-3AD203B41FA5}">
                      <a16:colId xmlns:a16="http://schemas.microsoft.com/office/drawing/2014/main" val="4139739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동시 전송 </a:t>
                      </a:r>
                      <a:r>
                        <a:rPr lang="en-US" altLang="ko-KR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Software Package(s)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Arial" panose="020B0604020202020204" pitchFamily="34" charset="0"/>
                        </a:rPr>
                        <a:t>CPU Load</a:t>
                      </a:r>
                      <a:endParaRPr lang="en-US" sz="1200" b="1" kern="100" dirty="0">
                        <a:solidFill>
                          <a:srgbClr val="000000"/>
                        </a:solidFill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Arial" panose="020B0604020202020204" pitchFamily="34" charset="0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393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1</a:t>
                      </a:r>
                      <a:r>
                        <a:rPr lang="ko-KR" alt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개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2~23%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9377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</a:t>
                      </a:r>
                      <a:r>
                        <a:rPr lang="ko-KR" alt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개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5~27%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860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3</a:t>
                      </a:r>
                      <a:r>
                        <a:rPr lang="ko-KR" alt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개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effectLst/>
                          <a:latin typeface="LG Smart UI SemiBold" panose="020B0700000101010101" pitchFamily="50" charset="-127"/>
                          <a:ea typeface="LG Smart UI SemiBold" panose="020B0700000101010101" pitchFamily="50" charset="-127"/>
                          <a:cs typeface="굴림" panose="020B0600000101010101" pitchFamily="50" charset="-127"/>
                        </a:rPr>
                        <a:t>29~33%</a:t>
                      </a:r>
                      <a:endParaRPr lang="en-US" sz="1200" dirty="0">
                        <a:effectLst/>
                        <a:latin typeface="LG Smart UI SemiBold" panose="020B0700000101010101" pitchFamily="50" charset="-127"/>
                        <a:ea typeface="LG Smart UI SemiBold" panose="020B0700000101010101" pitchFamily="50" charset="-127"/>
                        <a:cs typeface="굴림" panose="020B0600000101010101" pitchFamily="50" charset="-127"/>
                      </a:endParaRPr>
                    </a:p>
                  </a:txBody>
                  <a:tcPr marL="47625" marR="47625" marT="47625" marB="4762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7623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637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ployment View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Appendix </a:t>
            </a:r>
            <a:r>
              <a:rPr lang="en-US" altLang="ko-KR" sz="180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9</a:t>
            </a:r>
            <a:r>
              <a:rPr lang="en-US" altLang="ko-KR" sz="1800" dirty="0" smtClean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. Deployment View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7" name="그림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67" y="1016731"/>
            <a:ext cx="8732601" cy="56986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4933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1,506 Parking Isometric View Images, Stock Photos &amp; Vectors | Shutterstock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8201"/>
          <a:stretch/>
        </p:blipFill>
        <p:spPr bwMode="auto">
          <a:xfrm>
            <a:off x="191344" y="3708506"/>
            <a:ext cx="4104456" cy="2626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그룹 2"/>
          <p:cNvGrpSpPr/>
          <p:nvPr/>
        </p:nvGrpSpPr>
        <p:grpSpPr>
          <a:xfrm>
            <a:off x="4649484" y="3709863"/>
            <a:ext cx="2700300" cy="2700300"/>
            <a:chOff x="5123892" y="1700808"/>
            <a:chExt cx="4784812" cy="4784812"/>
          </a:xfrm>
        </p:grpSpPr>
        <p:pic>
          <p:nvPicPr>
            <p:cNvPr id="5126" name="Picture 6" descr="자동차 쇼룸. 자동 비즈니스 쇼룸 또는 자동차 판매 살롱 3d 평면 아이소 메트릭 그림 | 무료 벡터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3892" y="1700808"/>
              <a:ext cx="4784812" cy="4784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직사각형 1"/>
            <p:cNvSpPr/>
            <p:nvPr/>
          </p:nvSpPr>
          <p:spPr>
            <a:xfrm>
              <a:off x="5123892" y="5121188"/>
              <a:ext cx="1944216" cy="1364432"/>
            </a:xfrm>
            <a:prstGeom prst="rect">
              <a:avLst/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5123892" y="5985892"/>
              <a:ext cx="2484276" cy="499728"/>
            </a:xfrm>
            <a:prstGeom prst="rect">
              <a:avLst/>
            </a:prstGeom>
            <a:solidFill>
              <a:schemeClr val="bg1"/>
            </a:solidFill>
          </p:spPr>
          <p:txBody>
            <a:bodyPr rtlCol="0" anchor="ctr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Malgun Gothic" panose="020B0503020000020004" pitchFamily="50" charset="-127"/>
                <a:ea typeface="Malgun Gothic" panose="020B0503020000020004" pitchFamily="50" charset="-127"/>
              </a:endParaRPr>
            </a:p>
          </p:txBody>
        </p:sp>
      </p:grpSp>
      <p:pic>
        <p:nvPicPr>
          <p:cNvPr id="5128" name="Picture 8" descr="Isometric Car Factory Images – Browse 3,272 Stock Photos, Vectors, and  Video | Adobe Stoc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3468" y="3708506"/>
            <a:ext cx="4320245" cy="2566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모서리가 둥근 직사각형 8"/>
          <p:cNvSpPr/>
          <p:nvPr/>
        </p:nvSpPr>
        <p:spPr>
          <a:xfrm>
            <a:off x="889820" y="6228786"/>
            <a:ext cx="2649896" cy="440574"/>
          </a:xfrm>
          <a:prstGeom prst="roundRect">
            <a:avLst>
              <a:gd name="adj" fmla="val 600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Parking Lot</a:t>
            </a:r>
            <a:endParaRPr lang="en-US" sz="1200" dirty="0">
              <a:solidFill>
                <a:srgbClr val="00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4674686" y="6228786"/>
            <a:ext cx="2649896" cy="440574"/>
          </a:xfrm>
          <a:prstGeom prst="roundRect">
            <a:avLst>
              <a:gd name="adj" fmla="val 600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Showroom</a:t>
            </a:r>
            <a:endParaRPr lang="en-US" sz="1200" dirty="0">
              <a:solidFill>
                <a:srgbClr val="00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8538642" y="6228786"/>
            <a:ext cx="2649896" cy="440574"/>
          </a:xfrm>
          <a:prstGeom prst="roundRect">
            <a:avLst>
              <a:gd name="adj" fmla="val 600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rPr>
              <a:t>Vehicle Factory</a:t>
            </a:r>
            <a:endParaRPr lang="en-US" sz="1200" dirty="0">
              <a:solidFill>
                <a:srgbClr val="000000"/>
              </a:solidFill>
              <a:latin typeface="LG Smart UI SemiBold" panose="020B0700000101010101" pitchFamily="50" charset="-127"/>
              <a:ea typeface="LG Smart UI SemiBold" panose="020B0700000101010101" pitchFamily="50" charset="-127"/>
            </a:endParaRPr>
          </a:p>
        </p:txBody>
      </p:sp>
      <p:cxnSp>
        <p:nvCxnSpPr>
          <p:cNvPr id="15" name="꺾인 연결선 14"/>
          <p:cNvCxnSpPr>
            <a:stCxn id="20" idx="2"/>
            <a:endCxn id="5124" idx="0"/>
          </p:cNvCxnSpPr>
          <p:nvPr/>
        </p:nvCxnSpPr>
        <p:spPr>
          <a:xfrm rot="5400000">
            <a:off x="5549525" y="-605560"/>
            <a:ext cx="1008114" cy="762001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꺾인 연결선 17"/>
          <p:cNvCxnSpPr>
            <a:stCxn id="20" idx="2"/>
            <a:endCxn id="5126" idx="0"/>
          </p:cNvCxnSpPr>
          <p:nvPr/>
        </p:nvCxnSpPr>
        <p:spPr>
          <a:xfrm rot="5400000">
            <a:off x="7426878" y="1273149"/>
            <a:ext cx="1009471" cy="386395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>
            <a:stCxn id="20" idx="2"/>
            <a:endCxn id="5128" idx="0"/>
          </p:cNvCxnSpPr>
          <p:nvPr/>
        </p:nvCxnSpPr>
        <p:spPr>
          <a:xfrm>
            <a:off x="9863591" y="2700392"/>
            <a:ext cx="0" cy="1008114"/>
          </a:xfrm>
          <a:prstGeom prst="line">
            <a:avLst/>
          </a:prstGeom>
          <a:ln>
            <a:solidFill>
              <a:schemeClr val="tx1"/>
            </a:solidFill>
            <a:prstDash val="sys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텍스트 개체 틀 3"/>
          <p:cNvSpPr txBox="1">
            <a:spLocks/>
          </p:cNvSpPr>
          <p:nvPr/>
        </p:nvSpPr>
        <p:spPr>
          <a:xfrm>
            <a:off x="438485" y="672117"/>
            <a:ext cx="11418155" cy="21759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제조업체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ain-point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판매 후 운행중인 차량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판매점 내의 차량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판매 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3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출하 전 조립 완료된 차량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어떻게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할 것인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?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Backend Server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내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필요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&amp; UCM Subordinat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- Ideation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19" name="그룹 18"/>
          <p:cNvGrpSpPr/>
          <p:nvPr/>
        </p:nvGrpSpPr>
        <p:grpSpPr>
          <a:xfrm>
            <a:off x="9132855" y="964214"/>
            <a:ext cx="1461470" cy="1736178"/>
            <a:chOff x="5662465" y="576698"/>
            <a:chExt cx="1461470" cy="1736178"/>
          </a:xfrm>
        </p:grpSpPr>
        <p:pic>
          <p:nvPicPr>
            <p:cNvPr id="20" name="Picture 2" descr="Flat isometric 3d illustration of database concept with cloud server  16716622 Vector Art at Vecteezy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03" t="9414" r="13699" b="8223"/>
            <a:stretch/>
          </p:blipFill>
          <p:spPr bwMode="auto">
            <a:xfrm>
              <a:off x="5745128" y="1052736"/>
              <a:ext cx="1296145" cy="1260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모서리가 둥근 직사각형 21"/>
            <p:cNvSpPr/>
            <p:nvPr/>
          </p:nvSpPr>
          <p:spPr>
            <a:xfrm>
              <a:off x="5662465" y="576698"/>
              <a:ext cx="1461470" cy="440574"/>
            </a:xfrm>
            <a:prstGeom prst="roundRect">
              <a:avLst>
                <a:gd name="adj" fmla="val 6007"/>
              </a:avLst>
            </a:prstGeom>
            <a:noFill/>
            <a:ln w="952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Backend Server</a:t>
              </a:r>
              <a:endParaRPr lang="en-US" sz="1200" dirty="0">
                <a:solidFill>
                  <a:srgbClr val="00000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</p:grpSp>
      <p:sp>
        <p:nvSpPr>
          <p:cNvPr id="27" name="직사각형 26"/>
          <p:cNvSpPr/>
          <p:nvPr/>
        </p:nvSpPr>
        <p:spPr>
          <a:xfrm>
            <a:off x="3755740" y="1696642"/>
            <a:ext cx="319029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존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olkswagen ECU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경우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출하 전에 한하여 생산 담당자가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필요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USB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 자동차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Update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 중</a:t>
            </a:r>
            <a:endParaRPr kumimoji="1" lang="en-US" sz="1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rebuchet MS" pitchFamily="34" charset="0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87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텍스트 개체 틀 3"/>
          <p:cNvSpPr txBox="1">
            <a:spLocks/>
          </p:cNvSpPr>
          <p:nvPr/>
        </p:nvSpPr>
        <p:spPr>
          <a:xfrm>
            <a:off x="438485" y="672117"/>
            <a:ext cx="11418155" cy="60539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제조업체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uirement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Built-i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스마트 디바이스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Digital Cockpit, IVI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Softwar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결함 수정 또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ecurity Patch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의 환경 변화에 따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최근 자동차 제조업체의 요구 사항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&amp; 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포함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LG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자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S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사업본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022. 10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oyota telematics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주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lang="en-US" altLang="ko-KR" sz="1400" dirty="0" smtClean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</a:pP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ARA (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G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TOSA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aptive) Platform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준비 상황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최근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5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년 수주한 차량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경우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시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Standar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준수에 대한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요구사항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증가 추세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Volkswagen(2018~), BMW(2019~2021), Toyota(2022~)</a:t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CTO Division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은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Standard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준수하는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Platform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재화 업무 진행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내 많은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가 존재하고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단일 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업데이트 하기 위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은 내재화가 되어 있었지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여러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oftwar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업데이트 하기 위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은 준비되어 있지 않아 과제를 진행하기로 결정함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22. 10)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</a:t>
            </a:r>
            <a:r>
              <a:rPr kumimoji="1" lang="en-US" altLang="ko-KR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 – </a:t>
            </a:r>
            <a:r>
              <a:rPr kumimoji="1" lang="ko-KR" altLang="en-US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과제의 배경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19" name="그림 1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412" y="3392996"/>
            <a:ext cx="7164796" cy="2592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341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7954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제 계획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2022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년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10</a:t>
            </a:r>
            <a:r>
              <a:rPr kumimoji="1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월 경 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oyota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Telematics ECU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주 결정 후</a:t>
            </a:r>
            <a:r>
              <a:rPr kumimoji="1" lang="en-US" altLang="ko-KR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UCM Master </a:t>
            </a:r>
            <a:r>
              <a:rPr kumimoji="1" lang="ko-KR" altLang="en-US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내재화 의사 결정 완료</a:t>
            </a: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br>
              <a:rPr kumimoji="1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~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023 1Q 1st Iteration: SAD / SD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작성 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totyp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완료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~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2023 2Q 2nd Iteration</a:t>
            </a:r>
            <a:r>
              <a:rPr lang="en-US" altLang="ko-KR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: </a:t>
            </a:r>
            <a:r>
              <a:rPr lang="en-US" altLang="ko-KR" sz="140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AD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 SDD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정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Feature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현 및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nit </a:t>
            </a:r>
            <a:r>
              <a:rPr lang="en-US" altLang="ko-KR" sz="140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est </a:t>
            </a:r>
            <a:r>
              <a:rPr lang="ko-KR" altLang="en-US" sz="140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완료</a:t>
            </a:r>
            <a:r>
              <a:rPr lang="en-US" altLang="ko-KR" sz="140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설계 검증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2023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3Q ~: Integration (to main repository) &amp;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타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ndor ECU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연동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검증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제 목표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Manufactur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요구사항 분석 및 설계 활동을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통해 아래 사항이 반영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설계 및 개발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양산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일정에 맞추어 안정적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모듈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제공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추후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다른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Manufacturer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로부터 추가 수주 대응 또는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oC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(Proof of concept)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등의 요청에 빠르게 대응할 수 있는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확장성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있고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, </a:t>
            </a:r>
            <a:r>
              <a:rPr lang="ko-KR" altLang="en-US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유연성 있는 구조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설계</a:t>
            </a:r>
            <a:endParaRPr kumimoji="1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1. Project Overview - </a:t>
            </a:r>
            <a:r>
              <a:rPr kumimoji="1" lang="ko-KR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과제 계획 및 목표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1404" y="1128408"/>
            <a:ext cx="7740860" cy="323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311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36194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Stakeholder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Manufacturer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e.g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.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oyota :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ymeric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lang="en-US" altLang="ko-KR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ateau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타사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ECU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e.g. Denso : Florian Frank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daptive Platform </a:t>
            </a:r>
            <a:r>
              <a:rPr lang="ko-KR" altLang="en-US" sz="1400" dirty="0" err="1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수주팀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daptive Platform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.g.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TO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motive Platform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Task)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UTOSAR 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daptive Applic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팀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  (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e.g. VS </a:t>
            </a:r>
            <a:r>
              <a:rPr lang="en-US" altLang="ko-KR" sz="1400" dirty="0" err="1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reframework</a:t>
            </a:r>
            <a:r>
              <a:rPr lang="en-US" altLang="ko-KR" sz="1400" dirty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Unit, OTA &amp; Update Unit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)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2. Project Context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62733" y="6489340"/>
            <a:ext cx="82573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* Toyota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kumimoji="1" lang="en-US" altLang="ko-KR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ymeric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ateau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Denso</a:t>
            </a:r>
            <a:r>
              <a:rPr kumimoji="1" lang="en-US" altLang="ko-KR" sz="10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 </a:t>
            </a:r>
            <a:r>
              <a:rPr kumimoji="1" lang="ko-KR" altLang="en-US" sz="10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</a:t>
            </a:r>
            <a:r>
              <a:rPr kumimoji="1" lang="en-US" altLang="ko-KR" sz="10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lorian Flank </a:t>
            </a:r>
            <a:r>
              <a:rPr kumimoji="1" lang="ko-KR" altLang="en-US" sz="10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는 </a:t>
            </a:r>
            <a:r>
              <a:rPr kumimoji="1" lang="en-US" altLang="ko-KR" sz="10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G</a:t>
            </a:r>
            <a:r>
              <a:rPr kumimoji="1" lang="ko-KR" altLang="en-US" sz="1000" b="1" i="0" u="none" strike="noStrike" kern="120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전자 본인과 함께 </a:t>
            </a:r>
            <a:r>
              <a:rPr lang="en-US" altLang="ko-KR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WG-UCM </a:t>
            </a:r>
            <a:r>
              <a:rPr lang="ko-KR" altLang="en-US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그룹에서 함께 </a:t>
            </a:r>
            <a:r>
              <a:rPr lang="en-US" altLang="ko-KR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Requirement </a:t>
            </a:r>
            <a:r>
              <a:rPr lang="ko-KR" altLang="en-US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개발에 </a:t>
            </a:r>
            <a:r>
              <a:rPr lang="en-US" altLang="ko-KR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Contribution </a:t>
            </a:r>
            <a:r>
              <a:rPr lang="ko-KR" altLang="en-US" sz="1000" dirty="0" smtClean="0">
                <a:solidFill>
                  <a:srgbClr val="00B050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진행</a:t>
            </a:r>
            <a:endParaRPr kumimoji="1" lang="en-US" sz="1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rebuchet MS" pitchFamily="34" charset="0"/>
              <a:ea typeface="돋움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625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 txBox="1">
            <a:spLocks/>
          </p:cNvSpPr>
          <p:nvPr/>
        </p:nvSpPr>
        <p:spPr>
          <a:xfrm>
            <a:off x="438485" y="672117"/>
            <a:ext cx="11418155" cy="5170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System Context Diagram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자동차 내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대상이 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Subordinate(s)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그리고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Vehicle Software Updat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 필요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cess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간의 관계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5360" y="98395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2. Project Context – System Context Diagram</a:t>
            </a:r>
            <a:endParaRPr kumimoji="1" lang="en-US" altLang="ko-K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G Smart UI SemiBold" panose="020B0700000101010101" pitchFamily="50" charset="-127"/>
              <a:ea typeface="LG Smart UI SemiBold" panose="020B0700000101010101" pitchFamily="50" charset="-127"/>
              <a:cs typeface="+mn-cs"/>
            </a:endParaRPr>
          </a:p>
        </p:txBody>
      </p:sp>
      <p:grpSp>
        <p:nvGrpSpPr>
          <p:cNvPr id="74" name="그룹 73"/>
          <p:cNvGrpSpPr/>
          <p:nvPr/>
        </p:nvGrpSpPr>
        <p:grpSpPr>
          <a:xfrm>
            <a:off x="662733" y="1198848"/>
            <a:ext cx="7003618" cy="3612745"/>
            <a:chOff x="2742363" y="512143"/>
            <a:chExt cx="7003618" cy="3612745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5529443" y="787578"/>
              <a:ext cx="1240971" cy="3216885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UC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Master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16768" y="787579"/>
              <a:ext cx="1240971" cy="831027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OTA Cli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pplication</a:t>
              </a:r>
            </a:p>
          </p:txBody>
        </p:sp>
        <p:sp>
          <p:nvSpPr>
            <p:cNvPr id="91" name="직사각형 90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8415556" y="3585364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ra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::crypto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2" name="직사각형 91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415556" y="785116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00" b="0" kern="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UCM</a:t>
              </a:r>
              <a:endPara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93" name="직사각형 92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324115" y="876556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00" b="0" kern="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UCM</a:t>
              </a:r>
              <a:endPara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94" name="직사각형 93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8232674" y="994666"/>
              <a:ext cx="1240971" cy="419100"/>
            </a:xfrm>
            <a:prstGeom prst="rect">
              <a:avLst/>
            </a:prstGeom>
            <a:solidFill>
              <a:srgbClr val="FFFF99"/>
            </a:solidFill>
            <a:ln w="1270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kumimoji="0" lang="en-US" altLang="ko-KR" sz="1000" b="0" kern="0" dirty="0">
                  <a:solidFill>
                    <a:prstClr val="black"/>
                  </a:solidFill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UCM Subordinate</a:t>
              </a:r>
              <a:endParaRPr kumimoji="0" lang="ko-KR" altLang="en-US" sz="1000" b="0" kern="0" dirty="0">
                <a:solidFill>
                  <a:prstClr val="black"/>
                </a:solidFill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95" name="직사각형 94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16767" y="2850930"/>
              <a:ext cx="1240971" cy="4191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Vehicle</a:t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</a:b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State Manager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6" name="직사각형 95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16766" y="3585364"/>
              <a:ext cx="1240971" cy="4191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Vehicle</a:t>
              </a:r>
              <a:b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</a:b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Driver Application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97" name="직사각형 96">
              <a:extLst>
                <a:ext uri="{FF2B5EF4-FFF2-40B4-BE49-F238E27FC236}">
                  <a16:creationId xmlns:a16="http://schemas.microsoft.com/office/drawing/2014/main" id="{C3951733-A893-9CEF-99DA-3B41F4385094}"/>
                </a:ext>
              </a:extLst>
            </p:cNvPr>
            <p:cNvSpPr/>
            <p:nvPr/>
          </p:nvSpPr>
          <p:spPr>
            <a:xfrm>
              <a:off x="2821490" y="2116496"/>
              <a:ext cx="1240971" cy="419100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Diagnostic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Application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cxnSp>
          <p:nvCxnSpPr>
            <p:cNvPr id="98" name="직선 화살표 연결선 97"/>
            <p:cNvCxnSpPr/>
            <p:nvPr/>
          </p:nvCxnSpPr>
          <p:spPr>
            <a:xfrm flipV="1">
              <a:off x="4054319" y="114213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99" name="직사각형 98"/>
            <p:cNvSpPr/>
            <p:nvPr/>
          </p:nvSpPr>
          <p:spPr>
            <a:xfrm>
              <a:off x="4063885" y="680691"/>
              <a:ext cx="146226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ransfer</a:t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Vehicle Software Packag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Software Package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0" name="직선 화살표 연결선 99"/>
            <p:cNvCxnSpPr/>
            <p:nvPr/>
          </p:nvCxnSpPr>
          <p:spPr>
            <a:xfrm flipV="1">
              <a:off x="4075325" y="232582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1" name="직사각형 100"/>
            <p:cNvSpPr/>
            <p:nvPr/>
          </p:nvSpPr>
          <p:spPr>
            <a:xfrm>
              <a:off x="4063885" y="1864381"/>
              <a:ext cx="146226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ransfer</a:t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Vehicle Software Packag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Software Package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2" name="직선 화살표 연결선 101"/>
            <p:cNvCxnSpPr/>
            <p:nvPr/>
          </p:nvCxnSpPr>
          <p:spPr>
            <a:xfrm flipV="1">
              <a:off x="6783278" y="114213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3" name="직사각형 102"/>
            <p:cNvSpPr/>
            <p:nvPr/>
          </p:nvSpPr>
          <p:spPr>
            <a:xfrm>
              <a:off x="6783278" y="794991"/>
              <a:ext cx="109998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Transfer</a:t>
              </a:r>
              <a:b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</a:b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- Software Package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4" name="직선 화살표 연결선 103"/>
            <p:cNvCxnSpPr/>
            <p:nvPr/>
          </p:nvCxnSpPr>
          <p:spPr>
            <a:xfrm flipV="1">
              <a:off x="4075325" y="3060367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5" name="직사각형 104"/>
            <p:cNvSpPr/>
            <p:nvPr/>
          </p:nvSpPr>
          <p:spPr>
            <a:xfrm>
              <a:off x="4063885" y="2715351"/>
              <a:ext cx="13773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Vehicle State 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정보 전송</a:t>
              </a: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.g. Parking, Door close …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06" name="직선 화살표 연결선 105"/>
            <p:cNvCxnSpPr/>
            <p:nvPr/>
          </p:nvCxnSpPr>
          <p:spPr>
            <a:xfrm flipH="1">
              <a:off x="4054319" y="1261683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7" name="직사각형 106"/>
            <p:cNvSpPr/>
            <p:nvPr/>
          </p:nvSpPr>
          <p:spPr>
            <a:xfrm>
              <a:off x="4054319" y="1257223"/>
              <a:ext cx="1399742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Installed Software version</a:t>
              </a:r>
            </a:p>
          </p:txBody>
        </p:sp>
        <p:cxnSp>
          <p:nvCxnSpPr>
            <p:cNvPr id="108" name="직선 화살표 연결선 107"/>
            <p:cNvCxnSpPr/>
            <p:nvPr/>
          </p:nvCxnSpPr>
          <p:spPr>
            <a:xfrm flipV="1">
              <a:off x="4070601" y="3756582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09" name="직사각형 108"/>
            <p:cNvSpPr/>
            <p:nvPr/>
          </p:nvSpPr>
          <p:spPr>
            <a:xfrm>
              <a:off x="4061035" y="3414108"/>
              <a:ext cx="135966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oftware Update 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동의</a:t>
              </a: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/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거부</a:t>
              </a: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응답 전송</a:t>
              </a:r>
            </a:p>
          </p:txBody>
        </p:sp>
        <p:cxnSp>
          <p:nvCxnSpPr>
            <p:cNvPr id="110" name="직선 화살표 연결선 109"/>
            <p:cNvCxnSpPr/>
            <p:nvPr/>
          </p:nvCxnSpPr>
          <p:spPr>
            <a:xfrm flipH="1">
              <a:off x="4049595" y="3830305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1" name="직사각형 110"/>
            <p:cNvSpPr/>
            <p:nvPr/>
          </p:nvSpPr>
          <p:spPr>
            <a:xfrm>
              <a:off x="4049595" y="3825845"/>
              <a:ext cx="1342034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oftware Update 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동의 요청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12" name="직선 화살표 연결선 111"/>
            <p:cNvCxnSpPr/>
            <p:nvPr/>
          </p:nvCxnSpPr>
          <p:spPr>
            <a:xfrm flipH="1">
              <a:off x="6764389" y="1266960"/>
              <a:ext cx="146226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3" name="직사각형 112"/>
            <p:cNvSpPr/>
            <p:nvPr/>
          </p:nvSpPr>
          <p:spPr>
            <a:xfrm>
              <a:off x="6764389" y="1262500"/>
              <a:ext cx="1399742" cy="10772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Installed Software vers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Result of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Transfer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Activat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Finish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Rollbac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 - Cance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History of UCM</a:t>
              </a:r>
            </a:p>
          </p:txBody>
        </p:sp>
        <p:cxnSp>
          <p:nvCxnSpPr>
            <p:cNvPr id="114" name="직선 화살표 연결선 113"/>
            <p:cNvCxnSpPr/>
            <p:nvPr/>
          </p:nvCxnSpPr>
          <p:spPr>
            <a:xfrm flipV="1">
              <a:off x="6769091" y="3717071"/>
              <a:ext cx="163800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5" name="직사각형 114"/>
            <p:cNvSpPr/>
            <p:nvPr/>
          </p:nvSpPr>
          <p:spPr>
            <a:xfrm>
              <a:off x="6780531" y="3374597"/>
              <a:ext cx="145905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ncryption / Decryption 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요청</a:t>
              </a:r>
              <a:endParaRPr kumimoji="0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ignature Verification 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요청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cxnSp>
          <p:nvCxnSpPr>
            <p:cNvPr id="116" name="직선 화살표 연결선 115"/>
            <p:cNvCxnSpPr/>
            <p:nvPr/>
          </p:nvCxnSpPr>
          <p:spPr>
            <a:xfrm flipH="1">
              <a:off x="6769091" y="3790794"/>
              <a:ext cx="1638000" cy="225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117" name="직사각형 116"/>
            <p:cNvSpPr/>
            <p:nvPr/>
          </p:nvSpPr>
          <p:spPr>
            <a:xfrm>
              <a:off x="6769091" y="3786334"/>
              <a:ext cx="156485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Encrypted / Decrypted Data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Signature Verification </a:t>
              </a:r>
              <a:r>
                <a:rPr kumimoji="0" lang="ko-KR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결과 반환</a:t>
              </a:r>
              <a:endPara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</a:endParaRPr>
            </a:p>
          </p:txBody>
        </p:sp>
        <p:sp>
          <p:nvSpPr>
            <p:cNvPr id="118" name="직사각형 117">
              <a:extLst>
                <a:ext uri="{FF2B5EF4-FFF2-40B4-BE49-F238E27FC236}">
                  <a16:creationId xmlns:a16="http://schemas.microsoft.com/office/drawing/2014/main" id="{69494F0D-3897-5D97-3F60-8C229CD90D11}"/>
                </a:ext>
              </a:extLst>
            </p:cNvPr>
            <p:cNvSpPr/>
            <p:nvPr/>
          </p:nvSpPr>
          <p:spPr>
            <a:xfrm>
              <a:off x="2742363" y="512143"/>
              <a:ext cx="7003618" cy="3612745"/>
            </a:xfrm>
            <a:prstGeom prst="rect">
              <a:avLst/>
            </a:prstGeom>
            <a:noFill/>
            <a:ln w="6350" cap="flat" cmpd="sng" algn="ctr">
              <a:solidFill>
                <a:srgbClr val="FF0000"/>
              </a:solidFill>
              <a:prstDash val="dash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  <a:cs typeface="+mn-cs"/>
                </a:rPr>
                <a:t>In Vehicle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</p:grpSp>
      <p:sp>
        <p:nvSpPr>
          <p:cNvPr id="76" name="직사각형 75">
            <a:extLst>
              <a:ext uri="{FF2B5EF4-FFF2-40B4-BE49-F238E27FC236}">
                <a16:creationId xmlns:a16="http://schemas.microsoft.com/office/drawing/2014/main" id="{F4D0266C-7BF1-04E7-6E17-C87CE3B5157A}"/>
              </a:ext>
            </a:extLst>
          </p:cNvPr>
          <p:cNvSpPr/>
          <p:nvPr/>
        </p:nvSpPr>
        <p:spPr>
          <a:xfrm>
            <a:off x="662734" y="4856713"/>
            <a:ext cx="7003618" cy="802461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rPr>
              <a:t>Key</a:t>
            </a:r>
          </a:p>
        </p:txBody>
      </p:sp>
      <p:grpSp>
        <p:nvGrpSpPr>
          <p:cNvPr id="77" name="그룹 76"/>
          <p:cNvGrpSpPr/>
          <p:nvPr/>
        </p:nvGrpSpPr>
        <p:grpSpPr>
          <a:xfrm>
            <a:off x="742879" y="5095006"/>
            <a:ext cx="2716095" cy="246221"/>
            <a:chOff x="2816766" y="5676854"/>
            <a:chExt cx="2716095" cy="246221"/>
          </a:xfrm>
        </p:grpSpPr>
        <p:sp>
          <p:nvSpPr>
            <p:cNvPr id="87" name="직사각형 86">
              <a:extLst>
                <a:ext uri="{FF2B5EF4-FFF2-40B4-BE49-F238E27FC236}">
                  <a16:creationId xmlns:a16="http://schemas.microsoft.com/office/drawing/2014/main" id="{A1CF295E-6B3F-2766-45CA-F09B50CFCE7C}"/>
                </a:ext>
              </a:extLst>
            </p:cNvPr>
            <p:cNvSpPr/>
            <p:nvPr/>
          </p:nvSpPr>
          <p:spPr>
            <a:xfrm>
              <a:off x="2816766" y="5727020"/>
              <a:ext cx="345621" cy="157066"/>
            </a:xfrm>
            <a:prstGeom prst="rect">
              <a:avLst/>
            </a:prstGeom>
            <a:gradFill rotWithShape="1">
              <a:gsLst>
                <a:gs pos="0">
                  <a:srgbClr val="ED7D31">
                    <a:lumMod val="110000"/>
                    <a:satMod val="105000"/>
                    <a:tint val="67000"/>
                  </a:srgbClr>
                </a:gs>
                <a:gs pos="50000">
                  <a:srgbClr val="ED7D31">
                    <a:lumMod val="105000"/>
                    <a:satMod val="103000"/>
                    <a:tint val="73000"/>
                  </a:srgbClr>
                </a:gs>
                <a:gs pos="100000">
                  <a:srgbClr val="ED7D31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88" name="직사각형 87"/>
            <p:cNvSpPr/>
            <p:nvPr/>
          </p:nvSpPr>
          <p:spPr>
            <a:xfrm>
              <a:off x="3166508" y="5676854"/>
              <a:ext cx="236635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Adaptive AUTOSAR Functional Cluster</a:t>
              </a: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grpSp>
        <p:nvGrpSpPr>
          <p:cNvPr id="78" name="그룹 77"/>
          <p:cNvGrpSpPr/>
          <p:nvPr/>
        </p:nvGrpSpPr>
        <p:grpSpPr>
          <a:xfrm>
            <a:off x="4675947" y="5101628"/>
            <a:ext cx="2320153" cy="246221"/>
            <a:chOff x="2816766" y="6073772"/>
            <a:chExt cx="2320153" cy="246221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A2F3B4E0-87BF-47F7-462E-6B168BF2BA16}"/>
                </a:ext>
              </a:extLst>
            </p:cNvPr>
            <p:cNvSpPr/>
            <p:nvPr/>
          </p:nvSpPr>
          <p:spPr>
            <a:xfrm>
              <a:off x="2816766" y="6120349"/>
              <a:ext cx="345621" cy="153065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86" name="직사각형 85"/>
            <p:cNvSpPr/>
            <p:nvPr/>
          </p:nvSpPr>
          <p:spPr>
            <a:xfrm>
              <a:off x="3166508" y="6073772"/>
              <a:ext cx="197041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Adaptive AUTOSAR Application</a:t>
              </a: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grpSp>
        <p:nvGrpSpPr>
          <p:cNvPr id="79" name="그룹 78"/>
          <p:cNvGrpSpPr/>
          <p:nvPr/>
        </p:nvGrpSpPr>
        <p:grpSpPr>
          <a:xfrm>
            <a:off x="737135" y="5385951"/>
            <a:ext cx="3755529" cy="246221"/>
            <a:chOff x="2816765" y="6465099"/>
            <a:chExt cx="3755529" cy="246221"/>
          </a:xfrm>
        </p:grpSpPr>
        <p:sp>
          <p:nvSpPr>
            <p:cNvPr id="83" name="직사각형 82">
              <a:extLst>
                <a:ext uri="{FF2B5EF4-FFF2-40B4-BE49-F238E27FC236}">
                  <a16:creationId xmlns:a16="http://schemas.microsoft.com/office/drawing/2014/main" id="{A1CF295E-6B3F-2766-45CA-F09B50CFCE7C}"/>
                </a:ext>
              </a:extLst>
            </p:cNvPr>
            <p:cNvSpPr/>
            <p:nvPr/>
          </p:nvSpPr>
          <p:spPr>
            <a:xfrm>
              <a:off x="2816765" y="6509677"/>
              <a:ext cx="345621" cy="157066"/>
            </a:xfrm>
            <a:prstGeom prst="rect">
              <a:avLst/>
            </a:prstGeom>
            <a:solidFill>
              <a:srgbClr val="FFFF99"/>
            </a:solidFill>
            <a:ln w="6350" cap="flat" cmpd="sng" algn="ctr">
              <a:solidFill>
                <a:srgbClr val="AFA70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G Smart UI SemiBold" panose="020B0700000101010101" pitchFamily="50" charset="-127"/>
                <a:ea typeface="LG Smart UI SemiBold" panose="020B0700000101010101" pitchFamily="50" charset="-127"/>
                <a:cs typeface="+mn-cs"/>
              </a:endParaRPr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3162386" y="6465099"/>
              <a:ext cx="340990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Adaptive AUTOSAR Functional Cluster (Project</a:t>
              </a:r>
              <a:r>
                <a:rPr kumimoji="0" lang="en-US" altLang="ko-KR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 scope </a:t>
              </a:r>
              <a:r>
                <a:rPr kumimoji="0" lang="ko-KR" altLang="en-US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외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)</a:t>
              </a: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grpSp>
        <p:nvGrpSpPr>
          <p:cNvPr id="80" name="그룹 79"/>
          <p:cNvGrpSpPr/>
          <p:nvPr/>
        </p:nvGrpSpPr>
        <p:grpSpPr>
          <a:xfrm>
            <a:off x="4675947" y="5382095"/>
            <a:ext cx="1076911" cy="246221"/>
            <a:chOff x="2816765" y="6738906"/>
            <a:chExt cx="1076911" cy="246221"/>
          </a:xfrm>
        </p:grpSpPr>
        <p:cxnSp>
          <p:nvCxnSpPr>
            <p:cNvPr id="81" name="직선 연결선 80">
              <a:extLst>
                <a:ext uri="{FF2B5EF4-FFF2-40B4-BE49-F238E27FC236}">
                  <a16:creationId xmlns:a16="http://schemas.microsoft.com/office/drawing/2014/main" id="{6AC133DC-B6ED-23B2-A848-72A04A0DD806}"/>
                </a:ext>
              </a:extLst>
            </p:cNvPr>
            <p:cNvCxnSpPr>
              <a:cxnSpLocks/>
            </p:cNvCxnSpPr>
            <p:nvPr/>
          </p:nvCxnSpPr>
          <p:spPr>
            <a:xfrm>
              <a:off x="2816765" y="6855436"/>
              <a:ext cx="348061" cy="0"/>
            </a:xfrm>
            <a:prstGeom prst="line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ysDash"/>
              <a:miter lim="800000"/>
              <a:tailEnd type="stealth"/>
            </a:ln>
            <a:effectLst/>
          </p:spPr>
        </p:cxnSp>
        <p:sp>
          <p:nvSpPr>
            <p:cNvPr id="82" name="직사각형 81"/>
            <p:cNvSpPr/>
            <p:nvPr/>
          </p:nvSpPr>
          <p:spPr>
            <a:xfrm>
              <a:off x="3162386" y="6738906"/>
              <a:ext cx="7312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G Smart UI SemiBold" panose="020B0700000101010101" pitchFamily="50" charset="-127"/>
                  <a:ea typeface="LG Smart UI SemiBold" panose="020B0700000101010101" pitchFamily="50" charset="-127"/>
                </a:rPr>
                <a:t>Data flow</a:t>
              </a: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+mn-ea"/>
              </a:endParaRPr>
            </a:p>
          </p:txBody>
        </p:sp>
      </p:grpSp>
      <p:sp>
        <p:nvSpPr>
          <p:cNvPr id="51" name="텍스트 개체 틀 3"/>
          <p:cNvSpPr txBox="1">
            <a:spLocks/>
          </p:cNvSpPr>
          <p:nvPr/>
        </p:nvSpPr>
        <p:spPr>
          <a:xfrm>
            <a:off x="438485" y="5767352"/>
            <a:ext cx="11418155" cy="10100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271463" indent="-271463">
              <a:lnSpc>
                <a:spcPct val="110000"/>
              </a:lnSpc>
              <a:spcBef>
                <a:spcPts val="300"/>
              </a:spcBef>
              <a:buFont typeface="함초롬돋움" panose="020B0604000101010101" pitchFamily="50" charset="-127"/>
              <a:buChar char="❑"/>
              <a:defRPr sz="1200" b="1">
                <a:solidFill>
                  <a:srgbClr val="000000"/>
                </a:solidFill>
                <a:latin typeface="Arial Narrow"/>
                <a:ea typeface="LG스마트체 Regular"/>
              </a:defRPr>
            </a:lvl1pPr>
          </a:lstStyle>
          <a:p>
            <a:pPr lvl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Project Scope</a:t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Toyota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및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Standard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준수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UCM Ma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기능 설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/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구현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Adaptive AUTOSAR Applica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과의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action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을 위한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Interfa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를 제공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/>
            </a:r>
            <a:b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</a:b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-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AUTOSAR Adaptive Functional Clu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의 기능을 사용하기 위하여 타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Functional Cluster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에서 제공하는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Lib / Interface </a:t>
            </a:r>
            <a:r>
              <a:rPr lang="ko-KR" altLang="en-US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포함 </a:t>
            </a:r>
            <a:r>
              <a:rPr lang="en-US" altLang="ko-KR" sz="1400" dirty="0" smtClean="0">
                <a:latin typeface="LG Smart UI SemiBold" panose="020B0700000101010101" pitchFamily="50" charset="-127"/>
                <a:ea typeface="LG Smart UI SemiBold" panose="020B0700000101010101" pitchFamily="50" charset="-127"/>
                <a:cs typeface="Arial" panose="020B0604020202020204" pitchFamily="34" charset="0"/>
              </a:rPr>
              <a:t>(Use)</a:t>
            </a:r>
            <a:endParaRPr lang="en-US" altLang="ko-KR" sz="1400" dirty="0">
              <a:latin typeface="LG Smart UI SemiBold" panose="020B0700000101010101" pitchFamily="50" charset="-127"/>
              <a:ea typeface="LG Smart UI SemiBold" panose="020B07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297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>
        <a:spAutoFit/>
      </a:bodyPr>
      <a:lstStyle>
        <a:defPPr marL="0" marR="0">
          <a:spcBef>
            <a:spcPts val="0"/>
          </a:spcBef>
          <a:spcAft>
            <a:spcPts val="0"/>
          </a:spcAft>
          <a:defRPr sz="1000" dirty="0">
            <a:solidFill>
              <a:srgbClr val="000000"/>
            </a:solidFill>
            <a:latin typeface="Malgun Gothic" panose="020B0503020000020004" pitchFamily="50" charset="-127"/>
            <a:ea typeface="Malgun Gothic" panose="020B0503020000020004" pitchFamily="50" charset="-127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5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</a:spPr>
      <a:bodyPr wrap="none" lIns="0" tIns="0" rIns="0" bIns="0" anchor="t">
        <a:spAutoFit/>
      </a:bodyPr>
      <a:lstStyle>
        <a:defPPr>
          <a:buFont typeface="Wingdings" pitchFamily="2" charset="2"/>
          <a:buChar char="§"/>
          <a:defRPr sz="1200" b="1" smtClean="0"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사내문서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smtClean="0">
            <a:solidFill>
              <a:schemeClr val="tx1"/>
            </a:solidFill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ctr">
          <a:defRPr sz="11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Blank">
  <a:themeElements>
    <a:clrScheme name="7_Blank 12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7_Blan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spcBef>
            <a:spcPct val="0"/>
          </a:spcBef>
          <a:spcAft>
            <a:spcPct val="0"/>
          </a:spcAft>
          <a:buClrTx/>
          <a:buSzTx/>
          <a:tabLst/>
          <a:defRPr kumimoji="1" sz="1200" b="1" dirty="0" smtClean="0">
            <a:latin typeface="Arial" charset="0"/>
            <a:ea typeface="돋움" pitchFamily="50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32" tIns="45715" rIns="91432" bIns="45715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  <a:cs typeface="Arial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 algn="ctr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wrap="none" lIns="0" tIns="0" rIns="0" bIns="0">
        <a:spAutoFit/>
      </a:bodyPr>
      <a:lstStyle>
        <a:defPPr marL="263525" indent="-263525" eaLnBrk="1" hangingPunct="1">
          <a:lnSpc>
            <a:spcPts val="1900"/>
          </a:lnSpc>
          <a:spcBef>
            <a:spcPts val="600"/>
          </a:spcBef>
          <a:buFont typeface="Wingdings" pitchFamily="2" charset="2"/>
          <a:buChar char="q"/>
          <a:defRPr sz="14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Blank">
  <a:themeElements>
    <a:clrScheme name="7_Blank 12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7_Blan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spcBef>
            <a:spcPct val="0"/>
          </a:spcBef>
          <a:spcAft>
            <a:spcPct val="0"/>
          </a:spcAft>
          <a:buClrTx/>
          <a:buSzTx/>
          <a:tabLst/>
          <a:defRPr kumimoji="1" sz="1200" b="1" dirty="0" smtClean="0">
            <a:latin typeface="Arial" charset="0"/>
            <a:ea typeface="돋움" pitchFamily="50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32" tIns="45715" rIns="91432" bIns="45715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  <a:cs typeface="Arial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 algn="ctr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wrap="none" lIns="0" tIns="0" rIns="0" bIns="0">
        <a:spAutoFit/>
      </a:bodyPr>
      <a:lstStyle>
        <a:defPPr marL="263525" indent="-263525" eaLnBrk="1" hangingPunct="1">
          <a:lnSpc>
            <a:spcPts val="1900"/>
          </a:lnSpc>
          <a:spcBef>
            <a:spcPts val="600"/>
          </a:spcBef>
          <a:buFont typeface="Wingdings" pitchFamily="2" charset="2"/>
          <a:buChar char="q"/>
          <a:defRPr sz="14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Blank">
  <a:themeElements>
    <a:clrScheme name="7_Blank 12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7_Blank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spcBef>
            <a:spcPct val="0"/>
          </a:spcBef>
          <a:spcAft>
            <a:spcPct val="0"/>
          </a:spcAft>
          <a:buClrTx/>
          <a:buSzTx/>
          <a:tabLst/>
          <a:defRPr kumimoji="1" sz="1200" b="1" dirty="0" smtClean="0">
            <a:latin typeface="Arial" charset="0"/>
            <a:ea typeface="돋움" pitchFamily="50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32" tIns="45715" rIns="91432" bIns="45715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  <a:cs typeface="Arial" charset="0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19050" algn="ctr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wrap="none" lIns="0" tIns="0" rIns="0" bIns="0">
        <a:spAutoFit/>
      </a:bodyPr>
      <a:lstStyle>
        <a:defPPr marL="263525" indent="-263525" eaLnBrk="1" hangingPunct="1">
          <a:lnSpc>
            <a:spcPts val="1900"/>
          </a:lnSpc>
          <a:spcBef>
            <a:spcPts val="600"/>
          </a:spcBef>
          <a:buFont typeface="Wingdings" pitchFamily="2" charset="2"/>
          <a:buChar char="q"/>
          <a:defRPr sz="1400"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>
    <a:extraClrScheme>
      <a:clrScheme name="7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Blank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Blank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GSmartReg-ArialNarrow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27000"/>
          </a:schemeClr>
        </a:solidFill>
        <a:ln>
          <a:noFill/>
        </a:ln>
      </a:spPr>
      <a:bodyPr rtlCol="0" anchor="ctr"/>
      <a:lstStyle>
        <a:defPPr algn="ctr">
          <a:defRPr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3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bg1">
              <a:lumMod val="50000"/>
            </a:schemeClr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300" b="1" dirty="0" err="1" smtClean="0">
            <a:solidFill>
              <a:schemeClr val="tx1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lnSpc>
            <a:spcPct val="120000"/>
          </a:lnSpc>
          <a:spcBef>
            <a:spcPts val="600"/>
          </a:spcBef>
          <a:defRPr sz="1300" b="1" dirty="0" err="1" smtClean="0"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프레젠테이션1" id="{33E8DD9D-36A9-45EB-88C4-085946D60B2F}" vid="{451BD2D1-5066-477E-94DE-E39D457C8750}"/>
    </a:ext>
  </a:extLst>
</a:theme>
</file>

<file path=ppt/theme/theme17.xml><?xml version="1.0" encoding="utf-8"?>
<a:theme xmlns:a="http://schemas.openxmlformats.org/drawingml/2006/main" name="6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양식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회사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65000"/>
              <a:lumOff val="3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smtClean="0">
            <a:latin typeface="+mn-lt"/>
            <a:ea typeface="+mn-ea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공유_Vision1.0 전사 보고서 양식_국문 [읽기 전용]" id="{DCEB7387-A6D3-4FA2-98D3-15C610A3D6D2}" vid="{F26EEE4C-17B5-41BB-AE1D-9BFDD3EEED93}"/>
    </a:ext>
  </a:extLst>
</a:theme>
</file>

<file path=ppt/theme/theme19.xml><?xml version="1.0" encoding="utf-8"?>
<a:theme xmlns:a="http://schemas.openxmlformats.org/drawingml/2006/main" name="7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>
        <a:spAutoFit/>
      </a:bodyPr>
      <a:lstStyle>
        <a:defPPr marL="0" marR="0">
          <a:spcBef>
            <a:spcPts val="0"/>
          </a:spcBef>
          <a:spcAft>
            <a:spcPts val="0"/>
          </a:spcAft>
          <a:defRPr sz="1000" dirty="0">
            <a:solidFill>
              <a:srgbClr val="000000"/>
            </a:solidFill>
            <a:latin typeface="Malgun Gothic" panose="020B0503020000020004" pitchFamily="50" charset="-127"/>
            <a:ea typeface="Malgun Gothic" panose="020B0503020000020004" pitchFamily="50" charset="-127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9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0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1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</a:spPr>
      <a:bodyPr wrap="square" rtlCol="0" anchor="ctr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800" b="1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sz="1100" b="0" dirty="0" smtClean="0">
            <a:latin typeface="LG스마트체 Regular" panose="020B0600000101010101" pitchFamily="50" charset="-127"/>
            <a:ea typeface="LG스마트체 Regular" panose="020B0600000101010101" pitchFamily="50" charset="-127"/>
            <a:cs typeface="Arial" pitchFamily="34" charset="0"/>
          </a:defRPr>
        </a:defPPr>
      </a:lstStyle>
    </a:tx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Arial Narrow"/>
        <a:ea typeface="LG스마트체 Bold"/>
        <a:cs typeface=""/>
      </a:majorFont>
      <a:minorFont>
        <a:latin typeface="Arial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 Narrow" panose="020B0606020202030204" pitchFamily="34" charset="0"/>
            <a:ea typeface="LG스마트체 Regular" panose="020B0600000101010101" pitchFamily="50" charset="-127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2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</a:spPr>
      <a:bodyPr wrap="square" rtlCol="0" anchor="ctr">
        <a:spAutoFit/>
      </a:bodyPr>
      <a:lstStyle>
        <a:defPPr algn="ctr" fontAlgn="auto">
          <a:spcBef>
            <a:spcPts val="0"/>
          </a:spcBef>
          <a:spcAft>
            <a:spcPts val="0"/>
          </a:spcAft>
          <a:defRPr sz="800" b="1" dirty="0" smtClean="0">
            <a:solidFill>
              <a:srgbClr val="008000"/>
            </a:solidFill>
            <a:latin typeface="Arial Narrow" panose="020B0606020202030204" pitchFamily="34" charset="0"/>
            <a:ea typeface="LG스마트체 Regular" panose="020B0600000101010101" pitchFamily="50" charset="-127"/>
            <a:cs typeface="Arial" pitchFamily="34" charset="0"/>
          </a:defRPr>
        </a:defPPr>
      </a:lstStyle>
    </a:spDef>
    <a:txDef>
      <a:spPr>
        <a:noFill/>
      </a:spPr>
      <a:bodyPr wrap="none" rtlCol="0">
        <a:spAutoFit/>
      </a:bodyPr>
      <a:lstStyle>
        <a:defPPr>
          <a:defRPr sz="1200" dirty="0" smtClean="0">
            <a:solidFill>
              <a:srgbClr val="C00000"/>
            </a:solidFill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디자인 사용자 지정">
  <a:themeElements>
    <a:clrScheme name="사용자 지정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LG format">
      <a:majorFont>
        <a:latin typeface="Arial Narrow"/>
        <a:ea typeface="LG스마트체 Regular"/>
        <a:cs typeface=""/>
      </a:majorFont>
      <a:minorFont>
        <a:latin typeface="Arial Narrow"/>
        <a:ea typeface="LG스마트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sz="1600" b="1" i="0" u="none" strike="noStrike" cap="none" normalizeH="0" baseline="0" dirty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600" b="1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  <a:ea typeface="돋움" pitchFamily="50" charset="-127"/>
          </a:defRPr>
        </a:defPPr>
      </a:lstStyle>
    </a:lnDef>
  </a:objectDefaults>
  <a:extraClrSchemeLst>
    <a:extraClrScheme>
      <a:clrScheme name="디자인 사용자 지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디자인 사용자 지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디자인 사용자 지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1464</TotalTime>
  <Words>2802</Words>
  <Application>Microsoft Office PowerPoint</Application>
  <PresentationFormat>와이드스크린</PresentationFormat>
  <Paragraphs>695</Paragraphs>
  <Slides>43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15</vt:i4>
      </vt:variant>
      <vt:variant>
        <vt:lpstr>테마</vt:lpstr>
      </vt:variant>
      <vt:variant>
        <vt:i4>2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3</vt:i4>
      </vt:variant>
    </vt:vector>
  </HeadingPairs>
  <TitlesOfParts>
    <vt:vector size="80" baseType="lpstr">
      <vt:lpstr>Daytona</vt:lpstr>
      <vt:lpstr>LG Smart UI SemiBold</vt:lpstr>
      <vt:lpstr>LG스마트체 Regular</vt:lpstr>
      <vt:lpstr>LG스마트체2.0 SemiBold</vt:lpstr>
      <vt:lpstr>굴림</vt:lpstr>
      <vt:lpstr>돋움</vt:lpstr>
      <vt:lpstr>맑은 고딕</vt:lpstr>
      <vt:lpstr>맑은 고딕</vt:lpstr>
      <vt:lpstr>함초롬돋움</vt:lpstr>
      <vt:lpstr>Arial</vt:lpstr>
      <vt:lpstr>Arial Narrow</vt:lpstr>
      <vt:lpstr>Segoe UI</vt:lpstr>
      <vt:lpstr>Times New Roman</vt:lpstr>
      <vt:lpstr>Trebuchet MS</vt:lpstr>
      <vt:lpstr>Wingdings</vt:lpstr>
      <vt:lpstr>11_디자인 사용자 지정</vt:lpstr>
      <vt:lpstr>디자인 사용자 지정</vt:lpstr>
      <vt:lpstr>3_디자인 사용자 지정</vt:lpstr>
      <vt:lpstr>11_기본 디자인</vt:lpstr>
      <vt:lpstr>1_디자인 사용자 지정</vt:lpstr>
      <vt:lpstr>2_디자인 사용자 지정</vt:lpstr>
      <vt:lpstr>4_디자인 사용자 지정</vt:lpstr>
      <vt:lpstr>12_기본 디자인</vt:lpstr>
      <vt:lpstr>5_디자인 사용자 지정</vt:lpstr>
      <vt:lpstr>5_기본 디자인</vt:lpstr>
      <vt:lpstr>3_기본 디자인</vt:lpstr>
      <vt:lpstr>10_Blank</vt:lpstr>
      <vt:lpstr>11_Blank</vt:lpstr>
      <vt:lpstr>12_Blank</vt:lpstr>
      <vt:lpstr>8_디자인 사용자 지정</vt:lpstr>
      <vt:lpstr>Office 테마</vt:lpstr>
      <vt:lpstr>6_디자인 사용자 지정</vt:lpstr>
      <vt:lpstr>양식</vt:lpstr>
      <vt:lpstr>7_디자인 사용자 지정</vt:lpstr>
      <vt:lpstr>9_디자인 사용자 지정</vt:lpstr>
      <vt:lpstr>10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</dc:title>
  <dc:creator>김희수/책임연구원/iLab Incubation Cluster(heesoo.kim@lge.com)</dc:creator>
  <cp:lastModifiedBy>admin</cp:lastModifiedBy>
  <cp:revision>8485</cp:revision>
  <cp:lastPrinted>2023-02-24T10:43:39Z</cp:lastPrinted>
  <dcterms:created xsi:type="dcterms:W3CDTF">2005-12-07T09:50:28Z</dcterms:created>
  <dcterms:modified xsi:type="dcterms:W3CDTF">2023-04-17T13:2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0883658</vt:i4>
  </property>
  <property fmtid="{D5CDD505-2E9C-101B-9397-08002B2CF9AE}" pid="3" name="_NewReviewCycle">
    <vt:lpwstr/>
  </property>
  <property fmtid="{D5CDD505-2E9C-101B-9397-08002B2CF9AE}" pid="4" name="_EmailSubject">
    <vt:lpwstr>과제제안서 공유</vt:lpwstr>
  </property>
  <property fmtid="{D5CDD505-2E9C-101B-9397-08002B2CF9AE}" pid="5" name="_AuthorEmail">
    <vt:lpwstr>jeewoong.yang@lge.com</vt:lpwstr>
  </property>
  <property fmtid="{D5CDD505-2E9C-101B-9397-08002B2CF9AE}" pid="6" name="_AuthorEmailDisplayName">
    <vt:lpwstr>양지웅</vt:lpwstr>
  </property>
</Properties>
</file>